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71" r:id="rId2"/>
    <p:sldId id="260" r:id="rId3"/>
    <p:sldId id="262" r:id="rId4"/>
    <p:sldId id="273" r:id="rId5"/>
    <p:sldId id="281" r:id="rId6"/>
    <p:sldId id="274" r:id="rId7"/>
    <p:sldId id="276" r:id="rId8"/>
    <p:sldId id="277" r:id="rId9"/>
    <p:sldId id="275" r:id="rId10"/>
    <p:sldId id="278" r:id="rId11"/>
    <p:sldId id="279" r:id="rId12"/>
    <p:sldId id="286" r:id="rId13"/>
  </p:sldIdLst>
  <p:sldSz cx="9144000" cy="5143500" type="screen16x9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37">
          <p15:clr>
            <a:srgbClr val="A4A3A4"/>
          </p15:clr>
        </p15:guide>
        <p15:guide id="2" orient="horz">
          <p15:clr>
            <a:srgbClr val="A4A3A4"/>
          </p15:clr>
        </p15:guide>
        <p15:guide id="3" pos="174">
          <p15:clr>
            <a:srgbClr val="A4A3A4"/>
          </p15:clr>
        </p15:guide>
        <p15:guide id="4">
          <p15:clr>
            <a:srgbClr val="A4A3A4"/>
          </p15:clr>
        </p15:guide>
        <p15:guide id="5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08306C"/>
    <a:srgbClr val="DEF0F6"/>
    <a:srgbClr val="000000"/>
    <a:srgbClr val="CEE9F2"/>
    <a:srgbClr val="FFFFFF"/>
    <a:srgbClr val="19416B"/>
    <a:srgbClr val="193D6B"/>
    <a:srgbClr val="F4F3EC"/>
    <a:srgbClr val="6A8C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3B4931-0D0C-48AF-A98A-ABE375156C50}" v="4" dt="2023-02-08T14:35:45.66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441" autoAdjust="0"/>
    <p:restoredTop sz="94659" autoAdjust="0"/>
  </p:normalViewPr>
  <p:slideViewPr>
    <p:cSldViewPr snapToGrid="0" showGuides="1">
      <p:cViewPr>
        <p:scale>
          <a:sx n="75" d="100"/>
          <a:sy n="75" d="100"/>
        </p:scale>
        <p:origin x="1024" y="268"/>
      </p:cViewPr>
      <p:guideLst>
        <p:guide orient="horz" pos="3137"/>
        <p:guide orient="horz"/>
        <p:guide pos="174"/>
        <p:guide/>
        <p:guide pos="5759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-2886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F4B055-E19C-4BD1-B649-9F4234CF9E0C}" type="datetimeFigureOut">
              <a:rPr lang="en-IN" smtClean="0"/>
              <a:pPr/>
              <a:t>08-02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CD787E-43BC-4C13-B607-C8C1FF2F066F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269113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6AE52A-80AB-4EA5-B2A0-95F89924CB87}" type="datetimeFigureOut">
              <a:rPr lang="en-GB" smtClean="0"/>
              <a:pPr/>
              <a:t>08/0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43AE38-FB4E-4A1A-AF1C-72F0A07AB5D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2234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43AE38-FB4E-4A1A-AF1C-72F0A07AB5D3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46947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43AE38-FB4E-4A1A-AF1C-72F0A07AB5D3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4694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26340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">
                  <p:embed/>
                </p:oleObj>
              </mc:Choice>
              <mc:Fallback>
                <p:oleObj name="think-cell Slide" r:id="rId3" imgW="270" imgH="27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109" y="262890"/>
            <a:ext cx="5874492" cy="492443"/>
          </a:xfrm>
        </p:spPr>
        <p:txBody>
          <a:bodyPr anchor="ctr" anchorCtr="0"/>
          <a:lstStyle>
            <a:lvl1pPr algn="l">
              <a:defRPr sz="32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7A2E7E-2D31-9D5B-DFF0-35530E59A53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060" y="0"/>
            <a:ext cx="91358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35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ext, indoor, different&#10;&#10;Description automatically generated">
            <a:extLst>
              <a:ext uri="{FF2B5EF4-FFF2-40B4-BE49-F238E27FC236}">
                <a16:creationId xmlns:a16="http://schemas.microsoft.com/office/drawing/2014/main" id="{A4AE8C13-13D8-6F8F-0AC0-43AF883D11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60" y="0"/>
            <a:ext cx="9135879" cy="5143500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45112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214313" y="893076"/>
            <a:ext cx="8715375" cy="4255188"/>
          </a:xfrm>
          <a:prstGeom prst="rect">
            <a:avLst/>
          </a:prstGeom>
          <a:solidFill>
            <a:srgbClr val="000000">
              <a:alpha val="45000"/>
            </a:srgbClr>
          </a:solidFill>
          <a:ln>
            <a:solidFill>
              <a:srgbClr val="19416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Rectangle 1"/>
          <p:cNvSpPr/>
          <p:nvPr userDrawn="1"/>
        </p:nvSpPr>
        <p:spPr>
          <a:xfrm>
            <a:off x="214313" y="893894"/>
            <a:ext cx="8715375" cy="4254369"/>
          </a:xfrm>
          <a:prstGeom prst="rect">
            <a:avLst/>
          </a:prstGeom>
          <a:solidFill>
            <a:srgbClr val="FFFFFF">
              <a:alpha val="90000"/>
            </a:srgbClr>
          </a:solidFill>
          <a:ln w="19050">
            <a:solidFill>
              <a:srgbClr val="0830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Rectangle 2"/>
          <p:cNvSpPr/>
          <p:nvPr userDrawn="1"/>
        </p:nvSpPr>
        <p:spPr>
          <a:xfrm>
            <a:off x="214312" y="893076"/>
            <a:ext cx="8715375" cy="481012"/>
          </a:xfrm>
          <a:prstGeom prst="rect">
            <a:avLst/>
          </a:prstGeom>
          <a:gradFill>
            <a:gsLst>
              <a:gs pos="0">
                <a:srgbClr val="19416B"/>
              </a:gs>
              <a:gs pos="100000">
                <a:srgbClr val="08306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4595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1652590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2128" y="291703"/>
            <a:ext cx="7399435" cy="40011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2127" y="1000125"/>
            <a:ext cx="8710423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274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0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GB" sz="2600" b="1" kern="1200" dirty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Tx/>
        <a:buNone/>
        <a:defRPr sz="1600" kern="1200">
          <a:solidFill>
            <a:schemeClr val="tx2"/>
          </a:solidFill>
          <a:latin typeface="+mj-lt"/>
          <a:ea typeface="+mn-ea"/>
          <a:cs typeface="Arial" panose="020B0604020202020204" pitchFamily="34" charset="0"/>
        </a:defRPr>
      </a:lvl1pPr>
      <a:lvl2pPr marL="288925" indent="-288925" algn="l" defTabSz="914400" rtl="0" eaLnBrk="1" latinLnBrk="0" hangingPunct="1">
        <a:spcBef>
          <a:spcPts val="0"/>
        </a:spcBef>
        <a:buClr>
          <a:schemeClr val="tx2"/>
        </a:buClr>
        <a:buSzPct val="125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Arial" panose="020B0604020202020204" pitchFamily="34" charset="0"/>
        </a:defRPr>
      </a:lvl2pPr>
      <a:lvl3pPr marL="587375" indent="-282575" algn="l" defTabSz="914400" rtl="0" eaLnBrk="1" latinLnBrk="0" hangingPunct="1">
        <a:spcBef>
          <a:spcPts val="0"/>
        </a:spcBef>
        <a:buClr>
          <a:schemeClr val="tx2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j-lt"/>
          <a:ea typeface="+mn-ea"/>
          <a:cs typeface="Arial" panose="020B0604020202020204" pitchFamily="34" charset="0"/>
        </a:defRPr>
      </a:lvl3pPr>
      <a:lvl4pPr marL="903288" indent="-322263" algn="l" defTabSz="914400" rtl="0" eaLnBrk="1" latinLnBrk="0" hangingPunct="1">
        <a:spcBef>
          <a:spcPts val="0"/>
        </a:spcBef>
        <a:buClr>
          <a:schemeClr val="tx2"/>
        </a:buClr>
        <a:buSzPct val="95000"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j-lt"/>
          <a:ea typeface="+mn-ea"/>
          <a:cs typeface="Arial" panose="020B0604020202020204" pitchFamily="34" charset="0"/>
        </a:defRPr>
      </a:lvl4pPr>
      <a:lvl5pPr marL="1143000" indent="-219075" algn="l" defTabSz="914400" rtl="0" eaLnBrk="1" latinLnBrk="0" hangingPunct="1">
        <a:spcBef>
          <a:spcPts val="0"/>
        </a:spcBef>
        <a:buClr>
          <a:schemeClr val="tx2"/>
        </a:buClr>
        <a:buSzPct val="120000"/>
        <a:buFont typeface="Arial" panose="020B0604020202020204" pitchFamily="34" charset="0"/>
        <a:buChar char="̵"/>
        <a:defRPr sz="1600" kern="1200">
          <a:solidFill>
            <a:schemeClr val="tx2"/>
          </a:solidFill>
          <a:latin typeface="+mj-lt"/>
          <a:ea typeface="+mn-ea"/>
          <a:cs typeface="Arial" panose="020B0604020202020204" pitchFamily="34" charset="0"/>
        </a:defRPr>
      </a:lvl5pPr>
      <a:lvl6pPr marL="1371600" indent="-228600" algn="l" defTabSz="914400" rtl="0" eaLnBrk="1" latinLnBrk="0" hangingPunct="1">
        <a:spcBef>
          <a:spcPts val="0"/>
        </a:spcBef>
        <a:buClr>
          <a:schemeClr val="tx2"/>
        </a:buClr>
        <a:buSzPct val="90000"/>
        <a:buFont typeface="Arial" panose="020B0604020202020204" pitchFamily="34" charset="0"/>
        <a:buChar char="»"/>
        <a:defRPr sz="1600" kern="1200" baseline="0">
          <a:solidFill>
            <a:schemeClr val="tx2"/>
          </a:solidFill>
          <a:latin typeface="+mj-lt"/>
          <a:ea typeface="+mn-ea"/>
          <a:cs typeface="Arial" panose="020B0604020202020204" pitchFamily="34" charset="0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764679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77154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2919" y="956661"/>
            <a:ext cx="8463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olidFill>
                  <a:schemeClr val="bg1"/>
                </a:solidFill>
              </a:rPr>
              <a:t>Challenges Faced in Implementation</a:t>
            </a:r>
          </a:p>
        </p:txBody>
      </p:sp>
    </p:spTree>
    <p:extLst>
      <p:ext uri="{BB962C8B-B14F-4D97-AF65-F5344CB8AC3E}">
        <p14:creationId xmlns:p14="http://schemas.microsoft.com/office/powerpoint/2010/main" val="29872533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2919" y="943013"/>
            <a:ext cx="8463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enefits &amp; Results on Completion  </a:t>
            </a:r>
            <a:r>
              <a:rPr lang="en-US" sz="1600" b="1" i="1" dirty="0">
                <a:solidFill>
                  <a:schemeClr val="bg1"/>
                </a:solidFill>
              </a:rPr>
              <a:t>(Planned and Unplanned)</a:t>
            </a:r>
            <a:endParaRPr lang="en-IN" sz="16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2533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73121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8"/>
          <p:cNvSpPr/>
          <p:nvPr/>
        </p:nvSpPr>
        <p:spPr>
          <a:xfrm>
            <a:off x="4009021" y="1052816"/>
            <a:ext cx="4521872" cy="3323495"/>
          </a:xfrm>
          <a:custGeom>
            <a:avLst/>
            <a:gdLst>
              <a:gd name="connsiteX0" fmla="*/ 0 w 4107542"/>
              <a:gd name="connsiteY0" fmla="*/ 435428 h 3018971"/>
              <a:gd name="connsiteX1" fmla="*/ 3846285 w 4107542"/>
              <a:gd name="connsiteY1" fmla="*/ 0 h 3018971"/>
              <a:gd name="connsiteX2" fmla="*/ 4005942 w 4107542"/>
              <a:gd name="connsiteY2" fmla="*/ 1886857 h 3018971"/>
              <a:gd name="connsiteX3" fmla="*/ 4107542 w 4107542"/>
              <a:gd name="connsiteY3" fmla="*/ 2627085 h 3018971"/>
              <a:gd name="connsiteX4" fmla="*/ 304800 w 4107542"/>
              <a:gd name="connsiteY4" fmla="*/ 3018971 h 3018971"/>
              <a:gd name="connsiteX5" fmla="*/ 0 w 4107542"/>
              <a:gd name="connsiteY5" fmla="*/ 435428 h 3018971"/>
              <a:gd name="connsiteX0" fmla="*/ 0 w 4107542"/>
              <a:gd name="connsiteY0" fmla="*/ 435428 h 3018971"/>
              <a:gd name="connsiteX1" fmla="*/ 3846285 w 4107542"/>
              <a:gd name="connsiteY1" fmla="*/ 0 h 3018971"/>
              <a:gd name="connsiteX2" fmla="*/ 4005942 w 4107542"/>
              <a:gd name="connsiteY2" fmla="*/ 1886857 h 3018971"/>
              <a:gd name="connsiteX3" fmla="*/ 4107542 w 4107542"/>
              <a:gd name="connsiteY3" fmla="*/ 2627085 h 3018971"/>
              <a:gd name="connsiteX4" fmla="*/ 304800 w 4107542"/>
              <a:gd name="connsiteY4" fmla="*/ 3018971 h 3018971"/>
              <a:gd name="connsiteX5" fmla="*/ 0 w 4107542"/>
              <a:gd name="connsiteY5" fmla="*/ 435428 h 3018971"/>
              <a:gd name="connsiteX0" fmla="*/ 0 w 4107542"/>
              <a:gd name="connsiteY0" fmla="*/ 435428 h 3018971"/>
              <a:gd name="connsiteX1" fmla="*/ 3846285 w 4107542"/>
              <a:gd name="connsiteY1" fmla="*/ 0 h 3018971"/>
              <a:gd name="connsiteX2" fmla="*/ 4005942 w 4107542"/>
              <a:gd name="connsiteY2" fmla="*/ 1886857 h 3018971"/>
              <a:gd name="connsiteX3" fmla="*/ 4107542 w 4107542"/>
              <a:gd name="connsiteY3" fmla="*/ 2627085 h 3018971"/>
              <a:gd name="connsiteX4" fmla="*/ 304800 w 4107542"/>
              <a:gd name="connsiteY4" fmla="*/ 3018971 h 3018971"/>
              <a:gd name="connsiteX5" fmla="*/ 0 w 4107542"/>
              <a:gd name="connsiteY5" fmla="*/ 435428 h 3018971"/>
              <a:gd name="connsiteX0" fmla="*/ 0 w 4107542"/>
              <a:gd name="connsiteY0" fmla="*/ 435428 h 3018971"/>
              <a:gd name="connsiteX1" fmla="*/ 3846285 w 4107542"/>
              <a:gd name="connsiteY1" fmla="*/ 0 h 3018971"/>
              <a:gd name="connsiteX2" fmla="*/ 4005942 w 4107542"/>
              <a:gd name="connsiteY2" fmla="*/ 1886857 h 3018971"/>
              <a:gd name="connsiteX3" fmla="*/ 4107542 w 4107542"/>
              <a:gd name="connsiteY3" fmla="*/ 2627085 h 3018971"/>
              <a:gd name="connsiteX4" fmla="*/ 304800 w 4107542"/>
              <a:gd name="connsiteY4" fmla="*/ 3018971 h 3018971"/>
              <a:gd name="connsiteX5" fmla="*/ 0 w 4107542"/>
              <a:gd name="connsiteY5" fmla="*/ 435428 h 3018971"/>
              <a:gd name="connsiteX0" fmla="*/ 0 w 4107542"/>
              <a:gd name="connsiteY0" fmla="*/ 435428 h 3018971"/>
              <a:gd name="connsiteX1" fmla="*/ 3846285 w 4107542"/>
              <a:gd name="connsiteY1" fmla="*/ 0 h 3018971"/>
              <a:gd name="connsiteX2" fmla="*/ 4107542 w 4107542"/>
              <a:gd name="connsiteY2" fmla="*/ 2627085 h 3018971"/>
              <a:gd name="connsiteX3" fmla="*/ 304800 w 4107542"/>
              <a:gd name="connsiteY3" fmla="*/ 3018971 h 3018971"/>
              <a:gd name="connsiteX4" fmla="*/ 0 w 4107542"/>
              <a:gd name="connsiteY4" fmla="*/ 435428 h 3018971"/>
              <a:gd name="connsiteX0" fmla="*/ 0 w 4107542"/>
              <a:gd name="connsiteY0" fmla="*/ 435428 h 3018971"/>
              <a:gd name="connsiteX1" fmla="*/ 3846285 w 4107542"/>
              <a:gd name="connsiteY1" fmla="*/ 0 h 3018971"/>
              <a:gd name="connsiteX2" fmla="*/ 4107542 w 4107542"/>
              <a:gd name="connsiteY2" fmla="*/ 2627085 h 3018971"/>
              <a:gd name="connsiteX3" fmla="*/ 304800 w 4107542"/>
              <a:gd name="connsiteY3" fmla="*/ 3018971 h 3018971"/>
              <a:gd name="connsiteX4" fmla="*/ 0 w 4107542"/>
              <a:gd name="connsiteY4" fmla="*/ 435428 h 3018971"/>
              <a:gd name="connsiteX0" fmla="*/ 0 w 4107542"/>
              <a:gd name="connsiteY0" fmla="*/ 435428 h 3018971"/>
              <a:gd name="connsiteX1" fmla="*/ 3846285 w 4107542"/>
              <a:gd name="connsiteY1" fmla="*/ 0 h 3018971"/>
              <a:gd name="connsiteX2" fmla="*/ 4107542 w 4107542"/>
              <a:gd name="connsiteY2" fmla="*/ 2627085 h 3018971"/>
              <a:gd name="connsiteX3" fmla="*/ 304800 w 4107542"/>
              <a:gd name="connsiteY3" fmla="*/ 3018971 h 3018971"/>
              <a:gd name="connsiteX4" fmla="*/ 0 w 4107542"/>
              <a:gd name="connsiteY4" fmla="*/ 435428 h 301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07542" h="3018971">
                <a:moveTo>
                  <a:pt x="0" y="435428"/>
                </a:moveTo>
                <a:lnTo>
                  <a:pt x="3846285" y="0"/>
                </a:lnTo>
                <a:cubicBezTo>
                  <a:pt x="3933371" y="875695"/>
                  <a:pt x="3989976" y="1911410"/>
                  <a:pt x="4107542" y="2627085"/>
                </a:cubicBezTo>
                <a:lnTo>
                  <a:pt x="304800" y="3018971"/>
                </a:lnTo>
                <a:cubicBezTo>
                  <a:pt x="241300" y="2180650"/>
                  <a:pt x="147320" y="1357569"/>
                  <a:pt x="0" y="435428"/>
                </a:cubicBezTo>
                <a:close/>
              </a:path>
            </a:pathLst>
          </a:custGeom>
          <a:solidFill>
            <a:srgbClr val="D7DEE5"/>
          </a:solidFill>
          <a:ln w="25400" cap="flat" cmpd="sng" algn="ctr">
            <a:noFill/>
            <a:prstDash val="solid"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 rot="21133742">
            <a:off x="4748476" y="2175860"/>
            <a:ext cx="3042963" cy="93008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L="558800" indent="-558800" eaLnBrk="0" hangingPunct="0">
              <a:lnSpc>
                <a:spcPct val="100000"/>
              </a:lnSpc>
              <a:spcBef>
                <a:spcPct val="18000"/>
              </a:spcBef>
              <a:spcAft>
                <a:spcPts val="0"/>
              </a:spcAft>
              <a:buSzPct val="75000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88925" lvl="1" indent="-288925" eaLnBrk="0" hangingPunct="0">
              <a:lnSpc>
                <a:spcPct val="100000"/>
              </a:lnSpc>
              <a:spcBef>
                <a:spcPts val="6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57200" indent="-152400" eaLnBrk="0" hangingPunct="0">
              <a:lnSpc>
                <a:spcPct val="100000"/>
              </a:lnSpc>
              <a:spcBef>
                <a:spcPct val="18000"/>
              </a:spcBef>
              <a:spcAft>
                <a:spcPts val="0"/>
              </a:spcAft>
              <a:buSzPct val="75000"/>
              <a:buAutoNum type="alphaUcPeriod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20800" indent="-406400" eaLnBrk="0" hangingPunct="0">
              <a:lnSpc>
                <a:spcPct val="100000"/>
              </a:lnSpc>
              <a:spcBef>
                <a:spcPct val="18000"/>
              </a:spcBef>
              <a:spcAft>
                <a:spcPts val="0"/>
              </a:spcAft>
              <a:buSzPct val="75000"/>
              <a:buFont typeface="Wingdings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68463" indent="-406400" eaLnBrk="0" hangingPunct="0">
              <a:lnSpc>
                <a:spcPct val="100000"/>
              </a:lnSpc>
              <a:spcBef>
                <a:spcPct val="18000"/>
              </a:spcBef>
              <a:spcAft>
                <a:spcPts val="0"/>
              </a:spcAft>
              <a:buSzPct val="75000"/>
              <a:buAutoNum type="alphaLcPeriod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25663" indent="-406400" fontAlgn="base">
              <a:lnSpc>
                <a:spcPct val="125000"/>
              </a:lnSpc>
              <a:spcBef>
                <a:spcPct val="18000"/>
              </a:spcBef>
              <a:spcAft>
                <a:spcPct val="18000"/>
              </a:spcAft>
              <a:buSzPct val="75000"/>
              <a:buAutoNum type="alphaLcPeriod"/>
              <a:defRPr sz="1600">
                <a:solidFill>
                  <a:srgbClr val="06325C"/>
                </a:solidFill>
                <a:latin typeface="+mn-lt"/>
              </a:defRPr>
            </a:lvl6pPr>
            <a:lvl7pPr marL="2582863" indent="-406400" fontAlgn="base">
              <a:lnSpc>
                <a:spcPct val="125000"/>
              </a:lnSpc>
              <a:spcBef>
                <a:spcPct val="18000"/>
              </a:spcBef>
              <a:spcAft>
                <a:spcPct val="18000"/>
              </a:spcAft>
              <a:buSzPct val="75000"/>
              <a:buAutoNum type="alphaLcPeriod"/>
              <a:defRPr sz="1600">
                <a:solidFill>
                  <a:srgbClr val="06325C"/>
                </a:solidFill>
                <a:latin typeface="+mn-lt"/>
              </a:defRPr>
            </a:lvl7pPr>
            <a:lvl8pPr marL="3040063" indent="-406400" fontAlgn="base">
              <a:lnSpc>
                <a:spcPct val="125000"/>
              </a:lnSpc>
              <a:spcBef>
                <a:spcPct val="18000"/>
              </a:spcBef>
              <a:spcAft>
                <a:spcPct val="18000"/>
              </a:spcAft>
              <a:buSzPct val="75000"/>
              <a:buAutoNum type="alphaLcPeriod"/>
              <a:defRPr sz="1600">
                <a:solidFill>
                  <a:srgbClr val="06325C"/>
                </a:solidFill>
                <a:latin typeface="+mn-lt"/>
              </a:defRPr>
            </a:lvl8pPr>
            <a:lvl9pPr marL="3497263" indent="-406400" fontAlgn="base">
              <a:lnSpc>
                <a:spcPct val="125000"/>
              </a:lnSpc>
              <a:spcBef>
                <a:spcPct val="18000"/>
              </a:spcBef>
              <a:spcAft>
                <a:spcPct val="18000"/>
              </a:spcAft>
              <a:buSzPct val="75000"/>
              <a:buAutoNum type="alphaLcPeriod"/>
              <a:defRPr sz="1600">
                <a:solidFill>
                  <a:srgbClr val="06325C"/>
                </a:solidFill>
                <a:latin typeface="+mn-lt"/>
              </a:defRPr>
            </a:lvl9pPr>
          </a:lstStyle>
          <a:p>
            <a:pPr marL="0" indent="0" algn="ctr" defTabSz="685749" fontAlgn="auto">
              <a:defRPr/>
            </a:pPr>
            <a:r>
              <a:rPr lang="en-IN" sz="5000" b="1" kern="0" dirty="0">
                <a:solidFill>
                  <a:srgbClr val="1F497D"/>
                </a:solidFill>
                <a:latin typeface="Freestyle Script" panose="030804020302050B0404" pitchFamily="66" charset="0"/>
              </a:rPr>
              <a:t>Thank you !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3728454" y="3204243"/>
            <a:ext cx="1687091" cy="1686378"/>
            <a:chOff x="5539237" y="3435522"/>
            <a:chExt cx="1860938" cy="1860152"/>
          </a:xfrm>
        </p:grpSpPr>
        <p:sp>
          <p:nvSpPr>
            <p:cNvPr id="15" name="Oval 14"/>
            <p:cNvSpPr/>
            <p:nvPr/>
          </p:nvSpPr>
          <p:spPr>
            <a:xfrm>
              <a:off x="5539237" y="3435522"/>
              <a:ext cx="1860938" cy="1860152"/>
            </a:xfrm>
            <a:prstGeom prst="ellipse">
              <a:avLst/>
            </a:prstGeom>
            <a:solidFill>
              <a:srgbClr val="06325C"/>
            </a:solidFill>
            <a:ln w="38100" cap="flat" cmpd="sng" algn="ctr">
              <a:solidFill>
                <a:srgbClr val="FFFFFF"/>
              </a:solidFill>
              <a:prstDash val="solid"/>
            </a:ln>
            <a:effectLst>
              <a:outerShdw blurRad="152400" dir="21300000" sx="90000" sy="-19000" rotWithShape="0">
                <a:prstClr val="black">
                  <a:alpha val="15000"/>
                </a:prstClr>
              </a:outerShdw>
            </a:effectLst>
          </p:spPr>
          <p:txBody>
            <a:bodyPr lIns="100584" tIns="50293" rIns="100584" bIns="50293" rtlCol="0" anchor="ctr"/>
            <a:lstStyle/>
            <a:p>
              <a:pPr algn="ctr" defTabSz="75432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5669097" y="3565631"/>
              <a:ext cx="1601218" cy="1599934"/>
            </a:xfrm>
            <a:prstGeom prst="ellipse">
              <a:avLst/>
            </a:prstGeom>
            <a:blipFill>
              <a:blip r:embed="rId6" cstate="print"/>
              <a:srcRect/>
              <a:stretch>
                <a:fillRect l="-19996" r="-19996"/>
              </a:stretch>
            </a:blipFill>
            <a:ln w="25400" cap="flat" cmpd="sng" algn="ctr">
              <a:noFill/>
              <a:prstDash val="solid"/>
            </a:ln>
            <a:effectLst/>
          </p:spPr>
          <p:txBody>
            <a:bodyPr lIns="100584" tIns="50293" rIns="100584" bIns="50293" rtlCol="0" anchor="ctr"/>
            <a:lstStyle/>
            <a:p>
              <a:pPr algn="ctr" defTabSz="75432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5586547" y="3455449"/>
              <a:ext cx="1751720" cy="1724609"/>
            </a:xfrm>
            <a:prstGeom prst="ellipse">
              <a:avLst/>
            </a:prstGeom>
            <a:gradFill flip="none" rotWithShape="1">
              <a:gsLst>
                <a:gs pos="0">
                  <a:srgbClr val="FFFFFF">
                    <a:alpha val="50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 scaled="1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lIns="100584" tIns="50293" rIns="100584" bIns="50293" rtlCol="0" anchor="ctr"/>
            <a:lstStyle/>
            <a:p>
              <a:pPr algn="ctr" defTabSz="75432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1" name="Freeform 20"/>
          <p:cNvSpPr/>
          <p:nvPr/>
        </p:nvSpPr>
        <p:spPr>
          <a:xfrm rot="21160225">
            <a:off x="6761359" y="1615706"/>
            <a:ext cx="192245" cy="347858"/>
          </a:xfrm>
          <a:custGeom>
            <a:avLst/>
            <a:gdLst>
              <a:gd name="connsiteX0" fmla="*/ 476250 w 590550"/>
              <a:gd name="connsiteY0" fmla="*/ 0 h 1060450"/>
              <a:gd name="connsiteX1" fmla="*/ 0 w 590550"/>
              <a:gd name="connsiteY1" fmla="*/ 990600 h 1060450"/>
              <a:gd name="connsiteX2" fmla="*/ 6350 w 590550"/>
              <a:gd name="connsiteY2" fmla="*/ 1060450 h 1060450"/>
              <a:gd name="connsiteX3" fmla="*/ 590550 w 590550"/>
              <a:gd name="connsiteY3" fmla="*/ 63500 h 1060450"/>
              <a:gd name="connsiteX4" fmla="*/ 476250 w 590550"/>
              <a:gd name="connsiteY4" fmla="*/ 0 h 1060450"/>
              <a:gd name="connsiteX0" fmla="*/ 469900 w 584200"/>
              <a:gd name="connsiteY0" fmla="*/ 0 h 1060450"/>
              <a:gd name="connsiteX1" fmla="*/ 10318 w 584200"/>
              <a:gd name="connsiteY1" fmla="*/ 990600 h 1060450"/>
              <a:gd name="connsiteX2" fmla="*/ 0 w 584200"/>
              <a:gd name="connsiteY2" fmla="*/ 1060450 h 1060450"/>
              <a:gd name="connsiteX3" fmla="*/ 584200 w 584200"/>
              <a:gd name="connsiteY3" fmla="*/ 63500 h 1060450"/>
              <a:gd name="connsiteX4" fmla="*/ 469900 w 584200"/>
              <a:gd name="connsiteY4" fmla="*/ 0 h 1060450"/>
              <a:gd name="connsiteX0" fmla="*/ 469900 w 584200"/>
              <a:gd name="connsiteY0" fmla="*/ 0 h 1060450"/>
              <a:gd name="connsiteX1" fmla="*/ 10318 w 584200"/>
              <a:gd name="connsiteY1" fmla="*/ 990600 h 1060450"/>
              <a:gd name="connsiteX2" fmla="*/ 0 w 584200"/>
              <a:gd name="connsiteY2" fmla="*/ 1060450 h 1060450"/>
              <a:gd name="connsiteX3" fmla="*/ 584200 w 584200"/>
              <a:gd name="connsiteY3" fmla="*/ 63500 h 1060450"/>
              <a:gd name="connsiteX4" fmla="*/ 469900 w 584200"/>
              <a:gd name="connsiteY4" fmla="*/ 0 h 1060450"/>
              <a:gd name="connsiteX0" fmla="*/ 471759 w 586059"/>
              <a:gd name="connsiteY0" fmla="*/ 0 h 1060450"/>
              <a:gd name="connsiteX1" fmla="*/ 12177 w 586059"/>
              <a:gd name="connsiteY1" fmla="*/ 990600 h 1060450"/>
              <a:gd name="connsiteX2" fmla="*/ 1859 w 586059"/>
              <a:gd name="connsiteY2" fmla="*/ 1060450 h 1060450"/>
              <a:gd name="connsiteX3" fmla="*/ 586059 w 586059"/>
              <a:gd name="connsiteY3" fmla="*/ 63500 h 1060450"/>
              <a:gd name="connsiteX4" fmla="*/ 471759 w 586059"/>
              <a:gd name="connsiteY4" fmla="*/ 0 h 106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059" h="1060450">
                <a:moveTo>
                  <a:pt x="471759" y="0"/>
                </a:moveTo>
                <a:lnTo>
                  <a:pt x="12177" y="990600"/>
                </a:lnTo>
                <a:cubicBezTo>
                  <a:pt x="-787" y="1032933"/>
                  <a:pt x="-1846" y="1037167"/>
                  <a:pt x="1859" y="1060450"/>
                </a:cubicBezTo>
                <a:lnTo>
                  <a:pt x="586059" y="63500"/>
                </a:lnTo>
                <a:lnTo>
                  <a:pt x="471759" y="0"/>
                </a:lnTo>
                <a:close/>
              </a:path>
            </a:pathLst>
          </a:custGeom>
          <a:gradFill>
            <a:gsLst>
              <a:gs pos="0">
                <a:srgbClr val="FFFFFF">
                  <a:lumMod val="50000"/>
                </a:srgbClr>
              </a:gs>
              <a:gs pos="75000">
                <a:srgbClr val="FFFFFF"/>
              </a:gs>
            </a:gsLst>
            <a:lin ang="13500000" scaled="1"/>
          </a:gradFill>
          <a:ln w="25400" cap="flat" cmpd="sng" algn="ctr">
            <a:noFill/>
            <a:prstDash val="solid"/>
          </a:ln>
          <a:effectLst>
            <a:outerShdw blurRad="63500" sx="102000" sy="102000" algn="ctr" rotWithShape="0">
              <a:srgbClr val="FFFFFF">
                <a:alpha val="40000"/>
              </a:srgbClr>
            </a:outerShdw>
          </a:effectLst>
        </p:spPr>
        <p:txBody>
          <a:bodyPr rtlCol="0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22" name="Freeform 21"/>
          <p:cNvSpPr/>
          <p:nvPr/>
        </p:nvSpPr>
        <p:spPr>
          <a:xfrm rot="21160225">
            <a:off x="6804322" y="1398465"/>
            <a:ext cx="317871" cy="327755"/>
          </a:xfrm>
          <a:custGeom>
            <a:avLst/>
            <a:gdLst>
              <a:gd name="connsiteX0" fmla="*/ 828675 w 2105025"/>
              <a:gd name="connsiteY0" fmla="*/ 0 h 2119313"/>
              <a:gd name="connsiteX1" fmla="*/ 819150 w 2105025"/>
              <a:gd name="connsiteY1" fmla="*/ 114300 h 2119313"/>
              <a:gd name="connsiteX2" fmla="*/ 914400 w 2105025"/>
              <a:gd name="connsiteY2" fmla="*/ 385763 h 2119313"/>
              <a:gd name="connsiteX3" fmla="*/ 838200 w 2105025"/>
              <a:gd name="connsiteY3" fmla="*/ 495300 h 2119313"/>
              <a:gd name="connsiteX4" fmla="*/ 0 w 2105025"/>
              <a:gd name="connsiteY4" fmla="*/ 1228725 h 2119313"/>
              <a:gd name="connsiteX5" fmla="*/ 571500 w 2105025"/>
              <a:gd name="connsiteY5" fmla="*/ 1933575 h 2119313"/>
              <a:gd name="connsiteX6" fmla="*/ 1400175 w 2105025"/>
              <a:gd name="connsiteY6" fmla="*/ 2119313 h 2119313"/>
              <a:gd name="connsiteX7" fmla="*/ 1681163 w 2105025"/>
              <a:gd name="connsiteY7" fmla="*/ 1004888 h 2119313"/>
              <a:gd name="connsiteX8" fmla="*/ 1747838 w 2105025"/>
              <a:gd name="connsiteY8" fmla="*/ 847725 h 2119313"/>
              <a:gd name="connsiteX9" fmla="*/ 2024063 w 2105025"/>
              <a:gd name="connsiteY9" fmla="*/ 814388 h 2119313"/>
              <a:gd name="connsiteX10" fmla="*/ 2105025 w 2105025"/>
              <a:gd name="connsiteY10" fmla="*/ 747713 h 2119313"/>
              <a:gd name="connsiteX11" fmla="*/ 1295400 w 2105025"/>
              <a:gd name="connsiteY11" fmla="*/ 576263 h 2119313"/>
              <a:gd name="connsiteX12" fmla="*/ 828675 w 2105025"/>
              <a:gd name="connsiteY12" fmla="*/ 0 h 2119313"/>
              <a:gd name="connsiteX0" fmla="*/ 832230 w 2108580"/>
              <a:gd name="connsiteY0" fmla="*/ 0 h 2176563"/>
              <a:gd name="connsiteX1" fmla="*/ 822705 w 2108580"/>
              <a:gd name="connsiteY1" fmla="*/ 114300 h 2176563"/>
              <a:gd name="connsiteX2" fmla="*/ 917955 w 2108580"/>
              <a:gd name="connsiteY2" fmla="*/ 385763 h 2176563"/>
              <a:gd name="connsiteX3" fmla="*/ 841755 w 2108580"/>
              <a:gd name="connsiteY3" fmla="*/ 495300 h 2176563"/>
              <a:gd name="connsiteX4" fmla="*/ 3555 w 2108580"/>
              <a:gd name="connsiteY4" fmla="*/ 1228725 h 2176563"/>
              <a:gd name="connsiteX5" fmla="*/ 575055 w 2108580"/>
              <a:gd name="connsiteY5" fmla="*/ 1933575 h 2176563"/>
              <a:gd name="connsiteX6" fmla="*/ 1403730 w 2108580"/>
              <a:gd name="connsiteY6" fmla="*/ 2119313 h 2176563"/>
              <a:gd name="connsiteX7" fmla="*/ 1684718 w 2108580"/>
              <a:gd name="connsiteY7" fmla="*/ 1004888 h 2176563"/>
              <a:gd name="connsiteX8" fmla="*/ 1751393 w 2108580"/>
              <a:gd name="connsiteY8" fmla="*/ 847725 h 2176563"/>
              <a:gd name="connsiteX9" fmla="*/ 2027618 w 2108580"/>
              <a:gd name="connsiteY9" fmla="*/ 814388 h 2176563"/>
              <a:gd name="connsiteX10" fmla="*/ 2108580 w 2108580"/>
              <a:gd name="connsiteY10" fmla="*/ 747713 h 2176563"/>
              <a:gd name="connsiteX11" fmla="*/ 1298955 w 2108580"/>
              <a:gd name="connsiteY11" fmla="*/ 576263 h 2176563"/>
              <a:gd name="connsiteX12" fmla="*/ 832230 w 2108580"/>
              <a:gd name="connsiteY12" fmla="*/ 0 h 2176563"/>
              <a:gd name="connsiteX0" fmla="*/ 832311 w 2108661"/>
              <a:gd name="connsiteY0" fmla="*/ 0 h 2144498"/>
              <a:gd name="connsiteX1" fmla="*/ 822786 w 2108661"/>
              <a:gd name="connsiteY1" fmla="*/ 114300 h 2144498"/>
              <a:gd name="connsiteX2" fmla="*/ 918036 w 2108661"/>
              <a:gd name="connsiteY2" fmla="*/ 385763 h 2144498"/>
              <a:gd name="connsiteX3" fmla="*/ 841836 w 2108661"/>
              <a:gd name="connsiteY3" fmla="*/ 495300 h 2144498"/>
              <a:gd name="connsiteX4" fmla="*/ 3636 w 2108661"/>
              <a:gd name="connsiteY4" fmla="*/ 1228725 h 2144498"/>
              <a:gd name="connsiteX5" fmla="*/ 575136 w 2108661"/>
              <a:gd name="connsiteY5" fmla="*/ 1933575 h 2144498"/>
              <a:gd name="connsiteX6" fmla="*/ 1460961 w 2108661"/>
              <a:gd name="connsiteY6" fmla="*/ 2081213 h 2144498"/>
              <a:gd name="connsiteX7" fmla="*/ 1684799 w 2108661"/>
              <a:gd name="connsiteY7" fmla="*/ 1004888 h 2144498"/>
              <a:gd name="connsiteX8" fmla="*/ 1751474 w 2108661"/>
              <a:gd name="connsiteY8" fmla="*/ 847725 h 2144498"/>
              <a:gd name="connsiteX9" fmla="*/ 2027699 w 2108661"/>
              <a:gd name="connsiteY9" fmla="*/ 814388 h 2144498"/>
              <a:gd name="connsiteX10" fmla="*/ 2108661 w 2108661"/>
              <a:gd name="connsiteY10" fmla="*/ 747713 h 2144498"/>
              <a:gd name="connsiteX11" fmla="*/ 1299036 w 2108661"/>
              <a:gd name="connsiteY11" fmla="*/ 576263 h 2144498"/>
              <a:gd name="connsiteX12" fmla="*/ 832311 w 2108661"/>
              <a:gd name="connsiteY12" fmla="*/ 0 h 2144498"/>
              <a:gd name="connsiteX0" fmla="*/ 832311 w 2108661"/>
              <a:gd name="connsiteY0" fmla="*/ 0 h 2136155"/>
              <a:gd name="connsiteX1" fmla="*/ 822786 w 2108661"/>
              <a:gd name="connsiteY1" fmla="*/ 114300 h 2136155"/>
              <a:gd name="connsiteX2" fmla="*/ 918036 w 2108661"/>
              <a:gd name="connsiteY2" fmla="*/ 385763 h 2136155"/>
              <a:gd name="connsiteX3" fmla="*/ 841836 w 2108661"/>
              <a:gd name="connsiteY3" fmla="*/ 495300 h 2136155"/>
              <a:gd name="connsiteX4" fmla="*/ 3636 w 2108661"/>
              <a:gd name="connsiteY4" fmla="*/ 1228725 h 2136155"/>
              <a:gd name="connsiteX5" fmla="*/ 575136 w 2108661"/>
              <a:gd name="connsiteY5" fmla="*/ 1933575 h 2136155"/>
              <a:gd name="connsiteX6" fmla="*/ 1460961 w 2108661"/>
              <a:gd name="connsiteY6" fmla="*/ 2081213 h 2136155"/>
              <a:gd name="connsiteX7" fmla="*/ 1684799 w 2108661"/>
              <a:gd name="connsiteY7" fmla="*/ 1004888 h 2136155"/>
              <a:gd name="connsiteX8" fmla="*/ 1751474 w 2108661"/>
              <a:gd name="connsiteY8" fmla="*/ 847725 h 2136155"/>
              <a:gd name="connsiteX9" fmla="*/ 2027699 w 2108661"/>
              <a:gd name="connsiteY9" fmla="*/ 814388 h 2136155"/>
              <a:gd name="connsiteX10" fmla="*/ 2108661 w 2108661"/>
              <a:gd name="connsiteY10" fmla="*/ 747713 h 2136155"/>
              <a:gd name="connsiteX11" fmla="*/ 1299036 w 2108661"/>
              <a:gd name="connsiteY11" fmla="*/ 576263 h 2136155"/>
              <a:gd name="connsiteX12" fmla="*/ 832311 w 2108661"/>
              <a:gd name="connsiteY12" fmla="*/ 0 h 2136155"/>
              <a:gd name="connsiteX0" fmla="*/ 827584 w 2103934"/>
              <a:gd name="connsiteY0" fmla="*/ 0 h 2134926"/>
              <a:gd name="connsiteX1" fmla="*/ 818059 w 2103934"/>
              <a:gd name="connsiteY1" fmla="*/ 114300 h 2134926"/>
              <a:gd name="connsiteX2" fmla="*/ 913309 w 2103934"/>
              <a:gd name="connsiteY2" fmla="*/ 385763 h 2134926"/>
              <a:gd name="connsiteX3" fmla="*/ 837109 w 2103934"/>
              <a:gd name="connsiteY3" fmla="*/ 495300 h 2134926"/>
              <a:gd name="connsiteX4" fmla="*/ 3672 w 2103934"/>
              <a:gd name="connsiteY4" fmla="*/ 1271588 h 2134926"/>
              <a:gd name="connsiteX5" fmla="*/ 570409 w 2103934"/>
              <a:gd name="connsiteY5" fmla="*/ 1933575 h 2134926"/>
              <a:gd name="connsiteX6" fmla="*/ 1456234 w 2103934"/>
              <a:gd name="connsiteY6" fmla="*/ 2081213 h 2134926"/>
              <a:gd name="connsiteX7" fmla="*/ 1680072 w 2103934"/>
              <a:gd name="connsiteY7" fmla="*/ 1004888 h 2134926"/>
              <a:gd name="connsiteX8" fmla="*/ 1746747 w 2103934"/>
              <a:gd name="connsiteY8" fmla="*/ 847725 h 2134926"/>
              <a:gd name="connsiteX9" fmla="*/ 2022972 w 2103934"/>
              <a:gd name="connsiteY9" fmla="*/ 814388 h 2134926"/>
              <a:gd name="connsiteX10" fmla="*/ 2103934 w 2103934"/>
              <a:gd name="connsiteY10" fmla="*/ 747713 h 2134926"/>
              <a:gd name="connsiteX11" fmla="*/ 1294309 w 2103934"/>
              <a:gd name="connsiteY11" fmla="*/ 576263 h 2134926"/>
              <a:gd name="connsiteX12" fmla="*/ 827584 w 2103934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09643 w 2100268"/>
              <a:gd name="connsiteY2" fmla="*/ 385763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09643 w 2100268"/>
              <a:gd name="connsiteY2" fmla="*/ 385763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09643 w 2100268"/>
              <a:gd name="connsiteY2" fmla="*/ 385763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09643 w 2100268"/>
              <a:gd name="connsiteY2" fmla="*/ 385763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09643 w 2100268"/>
              <a:gd name="connsiteY2" fmla="*/ 385763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09643 w 2100268"/>
              <a:gd name="connsiteY2" fmla="*/ 385763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09643 w 2100268"/>
              <a:gd name="connsiteY2" fmla="*/ 385763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09643 w 2100268"/>
              <a:gd name="connsiteY2" fmla="*/ 385763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09643 w 2100268"/>
              <a:gd name="connsiteY2" fmla="*/ 395288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09643 w 2100268"/>
              <a:gd name="connsiteY2" fmla="*/ 395288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12024 w 2100268"/>
              <a:gd name="connsiteY2" fmla="*/ 388144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76406 w 2100268"/>
              <a:gd name="connsiteY7" fmla="*/ 1004888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12024 w 2100268"/>
              <a:gd name="connsiteY2" fmla="*/ 388144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88313 w 2100268"/>
              <a:gd name="connsiteY7" fmla="*/ 995363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12024 w 2100268"/>
              <a:gd name="connsiteY2" fmla="*/ 388144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88313 w 2100268"/>
              <a:gd name="connsiteY7" fmla="*/ 995363 h 2134926"/>
              <a:gd name="connsiteX8" fmla="*/ 1743081 w 2100268"/>
              <a:gd name="connsiteY8" fmla="*/ 84772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12024 w 2100268"/>
              <a:gd name="connsiteY2" fmla="*/ 388144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88313 w 2100268"/>
              <a:gd name="connsiteY7" fmla="*/ 995363 h 2134926"/>
              <a:gd name="connsiteX8" fmla="*/ 1745462 w 2100268"/>
              <a:gd name="connsiteY8" fmla="*/ 86677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12024 w 2100268"/>
              <a:gd name="connsiteY2" fmla="*/ 388144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88313 w 2100268"/>
              <a:gd name="connsiteY7" fmla="*/ 995363 h 2134926"/>
              <a:gd name="connsiteX8" fmla="*/ 1745462 w 2100268"/>
              <a:gd name="connsiteY8" fmla="*/ 86677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12024 w 2100268"/>
              <a:gd name="connsiteY2" fmla="*/ 388144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88313 w 2100268"/>
              <a:gd name="connsiteY7" fmla="*/ 995363 h 2134926"/>
              <a:gd name="connsiteX8" fmla="*/ 1745462 w 2100268"/>
              <a:gd name="connsiteY8" fmla="*/ 86677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12024 w 2100268"/>
              <a:gd name="connsiteY2" fmla="*/ 388144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88313 w 2100268"/>
              <a:gd name="connsiteY7" fmla="*/ 995363 h 2134926"/>
              <a:gd name="connsiteX8" fmla="*/ 1745462 w 2100268"/>
              <a:gd name="connsiteY8" fmla="*/ 86677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0268"/>
              <a:gd name="connsiteY0" fmla="*/ 0 h 2134926"/>
              <a:gd name="connsiteX1" fmla="*/ 814393 w 2100268"/>
              <a:gd name="connsiteY1" fmla="*/ 114300 h 2134926"/>
              <a:gd name="connsiteX2" fmla="*/ 912024 w 2100268"/>
              <a:gd name="connsiteY2" fmla="*/ 388144 h 2134926"/>
              <a:gd name="connsiteX3" fmla="*/ 833443 w 2100268"/>
              <a:gd name="connsiteY3" fmla="*/ 495300 h 2134926"/>
              <a:gd name="connsiteX4" fmla="*/ 6 w 2100268"/>
              <a:gd name="connsiteY4" fmla="*/ 1271588 h 2134926"/>
              <a:gd name="connsiteX5" fmla="*/ 566743 w 2100268"/>
              <a:gd name="connsiteY5" fmla="*/ 1933575 h 2134926"/>
              <a:gd name="connsiteX6" fmla="*/ 1452568 w 2100268"/>
              <a:gd name="connsiteY6" fmla="*/ 2081213 h 2134926"/>
              <a:gd name="connsiteX7" fmla="*/ 1688313 w 2100268"/>
              <a:gd name="connsiteY7" fmla="*/ 995363 h 2134926"/>
              <a:gd name="connsiteX8" fmla="*/ 1745462 w 2100268"/>
              <a:gd name="connsiteY8" fmla="*/ 866775 h 2134926"/>
              <a:gd name="connsiteX9" fmla="*/ 2019306 w 2100268"/>
              <a:gd name="connsiteY9" fmla="*/ 814388 h 2134926"/>
              <a:gd name="connsiteX10" fmla="*/ 2100268 w 2100268"/>
              <a:gd name="connsiteY10" fmla="*/ 747713 h 2134926"/>
              <a:gd name="connsiteX11" fmla="*/ 1290643 w 2100268"/>
              <a:gd name="connsiteY11" fmla="*/ 576263 h 2134926"/>
              <a:gd name="connsiteX12" fmla="*/ 823918 w 2100268"/>
              <a:gd name="connsiteY12" fmla="*/ 0 h 2134926"/>
              <a:gd name="connsiteX0" fmla="*/ 823918 w 2105030"/>
              <a:gd name="connsiteY0" fmla="*/ 0 h 2134926"/>
              <a:gd name="connsiteX1" fmla="*/ 814393 w 2105030"/>
              <a:gd name="connsiteY1" fmla="*/ 114300 h 2134926"/>
              <a:gd name="connsiteX2" fmla="*/ 912024 w 2105030"/>
              <a:gd name="connsiteY2" fmla="*/ 388144 h 2134926"/>
              <a:gd name="connsiteX3" fmla="*/ 833443 w 2105030"/>
              <a:gd name="connsiteY3" fmla="*/ 495300 h 2134926"/>
              <a:gd name="connsiteX4" fmla="*/ 6 w 2105030"/>
              <a:gd name="connsiteY4" fmla="*/ 1271588 h 2134926"/>
              <a:gd name="connsiteX5" fmla="*/ 566743 w 2105030"/>
              <a:gd name="connsiteY5" fmla="*/ 1933575 h 2134926"/>
              <a:gd name="connsiteX6" fmla="*/ 1452568 w 2105030"/>
              <a:gd name="connsiteY6" fmla="*/ 2081213 h 2134926"/>
              <a:gd name="connsiteX7" fmla="*/ 1688313 w 2105030"/>
              <a:gd name="connsiteY7" fmla="*/ 995363 h 2134926"/>
              <a:gd name="connsiteX8" fmla="*/ 1745462 w 2105030"/>
              <a:gd name="connsiteY8" fmla="*/ 866775 h 2134926"/>
              <a:gd name="connsiteX9" fmla="*/ 2019306 w 2105030"/>
              <a:gd name="connsiteY9" fmla="*/ 814388 h 2134926"/>
              <a:gd name="connsiteX10" fmla="*/ 2105030 w 2105030"/>
              <a:gd name="connsiteY10" fmla="*/ 735806 h 2134926"/>
              <a:gd name="connsiteX11" fmla="*/ 1290643 w 2105030"/>
              <a:gd name="connsiteY11" fmla="*/ 576263 h 2134926"/>
              <a:gd name="connsiteX12" fmla="*/ 823918 w 2105030"/>
              <a:gd name="connsiteY12" fmla="*/ 0 h 2134926"/>
              <a:gd name="connsiteX0" fmla="*/ 823918 w 2217572"/>
              <a:gd name="connsiteY0" fmla="*/ 0 h 2134926"/>
              <a:gd name="connsiteX1" fmla="*/ 814393 w 2217572"/>
              <a:gd name="connsiteY1" fmla="*/ 114300 h 2134926"/>
              <a:gd name="connsiteX2" fmla="*/ 912024 w 2217572"/>
              <a:gd name="connsiteY2" fmla="*/ 388144 h 2134926"/>
              <a:gd name="connsiteX3" fmla="*/ 833443 w 2217572"/>
              <a:gd name="connsiteY3" fmla="*/ 495300 h 2134926"/>
              <a:gd name="connsiteX4" fmla="*/ 6 w 2217572"/>
              <a:gd name="connsiteY4" fmla="*/ 1271588 h 2134926"/>
              <a:gd name="connsiteX5" fmla="*/ 566743 w 2217572"/>
              <a:gd name="connsiteY5" fmla="*/ 1933575 h 2134926"/>
              <a:gd name="connsiteX6" fmla="*/ 1452568 w 2217572"/>
              <a:gd name="connsiteY6" fmla="*/ 2081213 h 2134926"/>
              <a:gd name="connsiteX7" fmla="*/ 1688313 w 2217572"/>
              <a:gd name="connsiteY7" fmla="*/ 995363 h 2134926"/>
              <a:gd name="connsiteX8" fmla="*/ 1745462 w 2217572"/>
              <a:gd name="connsiteY8" fmla="*/ 866775 h 2134926"/>
              <a:gd name="connsiteX9" fmla="*/ 2019306 w 2217572"/>
              <a:gd name="connsiteY9" fmla="*/ 814388 h 2134926"/>
              <a:gd name="connsiteX10" fmla="*/ 2105030 w 2217572"/>
              <a:gd name="connsiteY10" fmla="*/ 735806 h 2134926"/>
              <a:gd name="connsiteX11" fmla="*/ 1290643 w 2217572"/>
              <a:gd name="connsiteY11" fmla="*/ 576263 h 2134926"/>
              <a:gd name="connsiteX12" fmla="*/ 823918 w 2217572"/>
              <a:gd name="connsiteY12" fmla="*/ 0 h 2134926"/>
              <a:gd name="connsiteX0" fmla="*/ 823918 w 2105030"/>
              <a:gd name="connsiteY0" fmla="*/ 0 h 2134926"/>
              <a:gd name="connsiteX1" fmla="*/ 814393 w 2105030"/>
              <a:gd name="connsiteY1" fmla="*/ 114300 h 2134926"/>
              <a:gd name="connsiteX2" fmla="*/ 912024 w 2105030"/>
              <a:gd name="connsiteY2" fmla="*/ 388144 h 2134926"/>
              <a:gd name="connsiteX3" fmla="*/ 833443 w 2105030"/>
              <a:gd name="connsiteY3" fmla="*/ 495300 h 2134926"/>
              <a:gd name="connsiteX4" fmla="*/ 6 w 2105030"/>
              <a:gd name="connsiteY4" fmla="*/ 1271588 h 2134926"/>
              <a:gd name="connsiteX5" fmla="*/ 566743 w 2105030"/>
              <a:gd name="connsiteY5" fmla="*/ 1933575 h 2134926"/>
              <a:gd name="connsiteX6" fmla="*/ 1452568 w 2105030"/>
              <a:gd name="connsiteY6" fmla="*/ 2081213 h 2134926"/>
              <a:gd name="connsiteX7" fmla="*/ 1688313 w 2105030"/>
              <a:gd name="connsiteY7" fmla="*/ 995363 h 2134926"/>
              <a:gd name="connsiteX8" fmla="*/ 1745462 w 2105030"/>
              <a:gd name="connsiteY8" fmla="*/ 866775 h 2134926"/>
              <a:gd name="connsiteX9" fmla="*/ 2019306 w 2105030"/>
              <a:gd name="connsiteY9" fmla="*/ 814388 h 2134926"/>
              <a:gd name="connsiteX10" fmla="*/ 2105030 w 2105030"/>
              <a:gd name="connsiteY10" fmla="*/ 735806 h 2134926"/>
              <a:gd name="connsiteX11" fmla="*/ 1290643 w 2105030"/>
              <a:gd name="connsiteY11" fmla="*/ 576263 h 2134926"/>
              <a:gd name="connsiteX12" fmla="*/ 823918 w 2105030"/>
              <a:gd name="connsiteY12" fmla="*/ 0 h 2134926"/>
              <a:gd name="connsiteX0" fmla="*/ 823918 w 2105030"/>
              <a:gd name="connsiteY0" fmla="*/ 0 h 2134926"/>
              <a:gd name="connsiteX1" fmla="*/ 814393 w 2105030"/>
              <a:gd name="connsiteY1" fmla="*/ 114300 h 2134926"/>
              <a:gd name="connsiteX2" fmla="*/ 912024 w 2105030"/>
              <a:gd name="connsiteY2" fmla="*/ 388144 h 2134926"/>
              <a:gd name="connsiteX3" fmla="*/ 833443 w 2105030"/>
              <a:gd name="connsiteY3" fmla="*/ 495300 h 2134926"/>
              <a:gd name="connsiteX4" fmla="*/ 6 w 2105030"/>
              <a:gd name="connsiteY4" fmla="*/ 1271588 h 2134926"/>
              <a:gd name="connsiteX5" fmla="*/ 566743 w 2105030"/>
              <a:gd name="connsiteY5" fmla="*/ 1933575 h 2134926"/>
              <a:gd name="connsiteX6" fmla="*/ 1452568 w 2105030"/>
              <a:gd name="connsiteY6" fmla="*/ 2081213 h 2134926"/>
              <a:gd name="connsiteX7" fmla="*/ 1688313 w 2105030"/>
              <a:gd name="connsiteY7" fmla="*/ 995363 h 2134926"/>
              <a:gd name="connsiteX8" fmla="*/ 1745462 w 2105030"/>
              <a:gd name="connsiteY8" fmla="*/ 866775 h 2134926"/>
              <a:gd name="connsiteX9" fmla="*/ 2019306 w 2105030"/>
              <a:gd name="connsiteY9" fmla="*/ 814388 h 2134926"/>
              <a:gd name="connsiteX10" fmla="*/ 2105030 w 2105030"/>
              <a:gd name="connsiteY10" fmla="*/ 735806 h 2134926"/>
              <a:gd name="connsiteX11" fmla="*/ 1290643 w 2105030"/>
              <a:gd name="connsiteY11" fmla="*/ 576263 h 2134926"/>
              <a:gd name="connsiteX12" fmla="*/ 823918 w 2105030"/>
              <a:gd name="connsiteY12" fmla="*/ 0 h 2134926"/>
              <a:gd name="connsiteX0" fmla="*/ 823918 w 2105030"/>
              <a:gd name="connsiteY0" fmla="*/ 0 h 2134926"/>
              <a:gd name="connsiteX1" fmla="*/ 814393 w 2105030"/>
              <a:gd name="connsiteY1" fmla="*/ 114300 h 2134926"/>
              <a:gd name="connsiteX2" fmla="*/ 912024 w 2105030"/>
              <a:gd name="connsiteY2" fmla="*/ 388144 h 2134926"/>
              <a:gd name="connsiteX3" fmla="*/ 833443 w 2105030"/>
              <a:gd name="connsiteY3" fmla="*/ 495300 h 2134926"/>
              <a:gd name="connsiteX4" fmla="*/ 6 w 2105030"/>
              <a:gd name="connsiteY4" fmla="*/ 1271588 h 2134926"/>
              <a:gd name="connsiteX5" fmla="*/ 566743 w 2105030"/>
              <a:gd name="connsiteY5" fmla="*/ 1933575 h 2134926"/>
              <a:gd name="connsiteX6" fmla="*/ 1452568 w 2105030"/>
              <a:gd name="connsiteY6" fmla="*/ 2081213 h 2134926"/>
              <a:gd name="connsiteX7" fmla="*/ 1688313 w 2105030"/>
              <a:gd name="connsiteY7" fmla="*/ 995363 h 2134926"/>
              <a:gd name="connsiteX8" fmla="*/ 1745462 w 2105030"/>
              <a:gd name="connsiteY8" fmla="*/ 866775 h 2134926"/>
              <a:gd name="connsiteX9" fmla="*/ 2019306 w 2105030"/>
              <a:gd name="connsiteY9" fmla="*/ 814388 h 2134926"/>
              <a:gd name="connsiteX10" fmla="*/ 2105030 w 2105030"/>
              <a:gd name="connsiteY10" fmla="*/ 735806 h 2134926"/>
              <a:gd name="connsiteX11" fmla="*/ 1333506 w 2105030"/>
              <a:gd name="connsiteY11" fmla="*/ 588170 h 2134926"/>
              <a:gd name="connsiteX12" fmla="*/ 823918 w 2105030"/>
              <a:gd name="connsiteY12" fmla="*/ 0 h 2134926"/>
              <a:gd name="connsiteX0" fmla="*/ 823918 w 2105030"/>
              <a:gd name="connsiteY0" fmla="*/ 0 h 2134926"/>
              <a:gd name="connsiteX1" fmla="*/ 814393 w 2105030"/>
              <a:gd name="connsiteY1" fmla="*/ 114300 h 2134926"/>
              <a:gd name="connsiteX2" fmla="*/ 912024 w 2105030"/>
              <a:gd name="connsiteY2" fmla="*/ 388144 h 2134926"/>
              <a:gd name="connsiteX3" fmla="*/ 833443 w 2105030"/>
              <a:gd name="connsiteY3" fmla="*/ 495300 h 2134926"/>
              <a:gd name="connsiteX4" fmla="*/ 6 w 2105030"/>
              <a:gd name="connsiteY4" fmla="*/ 1271588 h 2134926"/>
              <a:gd name="connsiteX5" fmla="*/ 566743 w 2105030"/>
              <a:gd name="connsiteY5" fmla="*/ 1933575 h 2134926"/>
              <a:gd name="connsiteX6" fmla="*/ 1452568 w 2105030"/>
              <a:gd name="connsiteY6" fmla="*/ 2081213 h 2134926"/>
              <a:gd name="connsiteX7" fmla="*/ 1688313 w 2105030"/>
              <a:gd name="connsiteY7" fmla="*/ 995363 h 2134926"/>
              <a:gd name="connsiteX8" fmla="*/ 1745462 w 2105030"/>
              <a:gd name="connsiteY8" fmla="*/ 866775 h 2134926"/>
              <a:gd name="connsiteX9" fmla="*/ 2019306 w 2105030"/>
              <a:gd name="connsiteY9" fmla="*/ 814388 h 2134926"/>
              <a:gd name="connsiteX10" fmla="*/ 2105030 w 2105030"/>
              <a:gd name="connsiteY10" fmla="*/ 735806 h 2134926"/>
              <a:gd name="connsiteX11" fmla="*/ 1333506 w 2105030"/>
              <a:gd name="connsiteY11" fmla="*/ 588170 h 2134926"/>
              <a:gd name="connsiteX12" fmla="*/ 823918 w 2105030"/>
              <a:gd name="connsiteY12" fmla="*/ 0 h 2134926"/>
              <a:gd name="connsiteX0" fmla="*/ 823918 w 2105030"/>
              <a:gd name="connsiteY0" fmla="*/ 0 h 2134926"/>
              <a:gd name="connsiteX1" fmla="*/ 814393 w 2105030"/>
              <a:gd name="connsiteY1" fmla="*/ 114300 h 2134926"/>
              <a:gd name="connsiteX2" fmla="*/ 912024 w 2105030"/>
              <a:gd name="connsiteY2" fmla="*/ 388144 h 2134926"/>
              <a:gd name="connsiteX3" fmla="*/ 833443 w 2105030"/>
              <a:gd name="connsiteY3" fmla="*/ 495300 h 2134926"/>
              <a:gd name="connsiteX4" fmla="*/ 6 w 2105030"/>
              <a:gd name="connsiteY4" fmla="*/ 1271588 h 2134926"/>
              <a:gd name="connsiteX5" fmla="*/ 566743 w 2105030"/>
              <a:gd name="connsiteY5" fmla="*/ 1933575 h 2134926"/>
              <a:gd name="connsiteX6" fmla="*/ 1452568 w 2105030"/>
              <a:gd name="connsiteY6" fmla="*/ 2081213 h 2134926"/>
              <a:gd name="connsiteX7" fmla="*/ 1688313 w 2105030"/>
              <a:gd name="connsiteY7" fmla="*/ 995363 h 2134926"/>
              <a:gd name="connsiteX8" fmla="*/ 1745462 w 2105030"/>
              <a:gd name="connsiteY8" fmla="*/ 866775 h 2134926"/>
              <a:gd name="connsiteX9" fmla="*/ 2019306 w 2105030"/>
              <a:gd name="connsiteY9" fmla="*/ 814388 h 2134926"/>
              <a:gd name="connsiteX10" fmla="*/ 2105030 w 2105030"/>
              <a:gd name="connsiteY10" fmla="*/ 735806 h 2134926"/>
              <a:gd name="connsiteX11" fmla="*/ 1333506 w 2105030"/>
              <a:gd name="connsiteY11" fmla="*/ 588170 h 2134926"/>
              <a:gd name="connsiteX12" fmla="*/ 823918 w 2105030"/>
              <a:gd name="connsiteY12" fmla="*/ 0 h 2134926"/>
              <a:gd name="connsiteX0" fmla="*/ 823918 w 2105030"/>
              <a:gd name="connsiteY0" fmla="*/ 0 h 2134926"/>
              <a:gd name="connsiteX1" fmla="*/ 814393 w 2105030"/>
              <a:gd name="connsiteY1" fmla="*/ 114300 h 2134926"/>
              <a:gd name="connsiteX2" fmla="*/ 912024 w 2105030"/>
              <a:gd name="connsiteY2" fmla="*/ 388144 h 2134926"/>
              <a:gd name="connsiteX3" fmla="*/ 833443 w 2105030"/>
              <a:gd name="connsiteY3" fmla="*/ 495300 h 2134926"/>
              <a:gd name="connsiteX4" fmla="*/ 6 w 2105030"/>
              <a:gd name="connsiteY4" fmla="*/ 1271588 h 2134926"/>
              <a:gd name="connsiteX5" fmla="*/ 566743 w 2105030"/>
              <a:gd name="connsiteY5" fmla="*/ 1933575 h 2134926"/>
              <a:gd name="connsiteX6" fmla="*/ 1452568 w 2105030"/>
              <a:gd name="connsiteY6" fmla="*/ 2081213 h 2134926"/>
              <a:gd name="connsiteX7" fmla="*/ 1688313 w 2105030"/>
              <a:gd name="connsiteY7" fmla="*/ 995363 h 2134926"/>
              <a:gd name="connsiteX8" fmla="*/ 1745462 w 2105030"/>
              <a:gd name="connsiteY8" fmla="*/ 866775 h 2134926"/>
              <a:gd name="connsiteX9" fmla="*/ 2019306 w 2105030"/>
              <a:gd name="connsiteY9" fmla="*/ 814388 h 2134926"/>
              <a:gd name="connsiteX10" fmla="*/ 2105030 w 2105030"/>
              <a:gd name="connsiteY10" fmla="*/ 735806 h 2134926"/>
              <a:gd name="connsiteX11" fmla="*/ 1333506 w 2105030"/>
              <a:gd name="connsiteY11" fmla="*/ 588170 h 2134926"/>
              <a:gd name="connsiteX12" fmla="*/ 823918 w 2105030"/>
              <a:gd name="connsiteY12" fmla="*/ 0 h 2134926"/>
              <a:gd name="connsiteX0" fmla="*/ 823918 w 2105030"/>
              <a:gd name="connsiteY0" fmla="*/ 0 h 2134926"/>
              <a:gd name="connsiteX1" fmla="*/ 814393 w 2105030"/>
              <a:gd name="connsiteY1" fmla="*/ 114300 h 2134926"/>
              <a:gd name="connsiteX2" fmla="*/ 912024 w 2105030"/>
              <a:gd name="connsiteY2" fmla="*/ 388144 h 2134926"/>
              <a:gd name="connsiteX3" fmla="*/ 833443 w 2105030"/>
              <a:gd name="connsiteY3" fmla="*/ 495300 h 2134926"/>
              <a:gd name="connsiteX4" fmla="*/ 6 w 2105030"/>
              <a:gd name="connsiteY4" fmla="*/ 1271588 h 2134926"/>
              <a:gd name="connsiteX5" fmla="*/ 566743 w 2105030"/>
              <a:gd name="connsiteY5" fmla="*/ 1933575 h 2134926"/>
              <a:gd name="connsiteX6" fmla="*/ 1452568 w 2105030"/>
              <a:gd name="connsiteY6" fmla="*/ 2081213 h 2134926"/>
              <a:gd name="connsiteX7" fmla="*/ 1688313 w 2105030"/>
              <a:gd name="connsiteY7" fmla="*/ 995363 h 2134926"/>
              <a:gd name="connsiteX8" fmla="*/ 1745462 w 2105030"/>
              <a:gd name="connsiteY8" fmla="*/ 866775 h 2134926"/>
              <a:gd name="connsiteX9" fmla="*/ 2019306 w 2105030"/>
              <a:gd name="connsiteY9" fmla="*/ 814388 h 2134926"/>
              <a:gd name="connsiteX10" fmla="*/ 2105030 w 2105030"/>
              <a:gd name="connsiteY10" fmla="*/ 735806 h 2134926"/>
              <a:gd name="connsiteX11" fmla="*/ 1333506 w 2105030"/>
              <a:gd name="connsiteY11" fmla="*/ 588170 h 2134926"/>
              <a:gd name="connsiteX12" fmla="*/ 823918 w 2105030"/>
              <a:gd name="connsiteY12" fmla="*/ 0 h 2134926"/>
              <a:gd name="connsiteX0" fmla="*/ 823918 w 2105030"/>
              <a:gd name="connsiteY0" fmla="*/ 0 h 2134926"/>
              <a:gd name="connsiteX1" fmla="*/ 814393 w 2105030"/>
              <a:gd name="connsiteY1" fmla="*/ 114300 h 2134926"/>
              <a:gd name="connsiteX2" fmla="*/ 912024 w 2105030"/>
              <a:gd name="connsiteY2" fmla="*/ 388144 h 2134926"/>
              <a:gd name="connsiteX3" fmla="*/ 833443 w 2105030"/>
              <a:gd name="connsiteY3" fmla="*/ 495300 h 2134926"/>
              <a:gd name="connsiteX4" fmla="*/ 6 w 2105030"/>
              <a:gd name="connsiteY4" fmla="*/ 1271588 h 2134926"/>
              <a:gd name="connsiteX5" fmla="*/ 566743 w 2105030"/>
              <a:gd name="connsiteY5" fmla="*/ 1933575 h 2134926"/>
              <a:gd name="connsiteX6" fmla="*/ 1452568 w 2105030"/>
              <a:gd name="connsiteY6" fmla="*/ 2081213 h 2134926"/>
              <a:gd name="connsiteX7" fmla="*/ 1688313 w 2105030"/>
              <a:gd name="connsiteY7" fmla="*/ 995363 h 2134926"/>
              <a:gd name="connsiteX8" fmla="*/ 1745462 w 2105030"/>
              <a:gd name="connsiteY8" fmla="*/ 866775 h 2134926"/>
              <a:gd name="connsiteX9" fmla="*/ 2019306 w 2105030"/>
              <a:gd name="connsiteY9" fmla="*/ 814388 h 2134926"/>
              <a:gd name="connsiteX10" fmla="*/ 2105030 w 2105030"/>
              <a:gd name="connsiteY10" fmla="*/ 735806 h 2134926"/>
              <a:gd name="connsiteX11" fmla="*/ 1333506 w 2105030"/>
              <a:gd name="connsiteY11" fmla="*/ 588170 h 2134926"/>
              <a:gd name="connsiteX12" fmla="*/ 823918 w 2105030"/>
              <a:gd name="connsiteY12" fmla="*/ 0 h 2134926"/>
              <a:gd name="connsiteX0" fmla="*/ 823918 w 2105030"/>
              <a:gd name="connsiteY0" fmla="*/ 0 h 2134926"/>
              <a:gd name="connsiteX1" fmla="*/ 814393 w 2105030"/>
              <a:gd name="connsiteY1" fmla="*/ 114300 h 2134926"/>
              <a:gd name="connsiteX2" fmla="*/ 912024 w 2105030"/>
              <a:gd name="connsiteY2" fmla="*/ 388144 h 2134926"/>
              <a:gd name="connsiteX3" fmla="*/ 833443 w 2105030"/>
              <a:gd name="connsiteY3" fmla="*/ 495300 h 2134926"/>
              <a:gd name="connsiteX4" fmla="*/ 6 w 2105030"/>
              <a:gd name="connsiteY4" fmla="*/ 1271588 h 2134926"/>
              <a:gd name="connsiteX5" fmla="*/ 566743 w 2105030"/>
              <a:gd name="connsiteY5" fmla="*/ 1933575 h 2134926"/>
              <a:gd name="connsiteX6" fmla="*/ 1452568 w 2105030"/>
              <a:gd name="connsiteY6" fmla="*/ 2081213 h 2134926"/>
              <a:gd name="connsiteX7" fmla="*/ 1688313 w 2105030"/>
              <a:gd name="connsiteY7" fmla="*/ 995363 h 2134926"/>
              <a:gd name="connsiteX8" fmla="*/ 1745462 w 2105030"/>
              <a:gd name="connsiteY8" fmla="*/ 866775 h 2134926"/>
              <a:gd name="connsiteX9" fmla="*/ 1988350 w 2105030"/>
              <a:gd name="connsiteY9" fmla="*/ 816769 h 2134926"/>
              <a:gd name="connsiteX10" fmla="*/ 2105030 w 2105030"/>
              <a:gd name="connsiteY10" fmla="*/ 735806 h 2134926"/>
              <a:gd name="connsiteX11" fmla="*/ 1333506 w 2105030"/>
              <a:gd name="connsiteY11" fmla="*/ 588170 h 2134926"/>
              <a:gd name="connsiteX12" fmla="*/ 823918 w 2105030"/>
              <a:gd name="connsiteY12" fmla="*/ 0 h 2134926"/>
              <a:gd name="connsiteX0" fmla="*/ 834080 w 2105030"/>
              <a:gd name="connsiteY0" fmla="*/ 0 h 2170490"/>
              <a:gd name="connsiteX1" fmla="*/ 814393 w 2105030"/>
              <a:gd name="connsiteY1" fmla="*/ 149864 h 2170490"/>
              <a:gd name="connsiteX2" fmla="*/ 912024 w 2105030"/>
              <a:gd name="connsiteY2" fmla="*/ 423708 h 2170490"/>
              <a:gd name="connsiteX3" fmla="*/ 833443 w 2105030"/>
              <a:gd name="connsiteY3" fmla="*/ 530864 h 2170490"/>
              <a:gd name="connsiteX4" fmla="*/ 6 w 2105030"/>
              <a:gd name="connsiteY4" fmla="*/ 1307152 h 2170490"/>
              <a:gd name="connsiteX5" fmla="*/ 566743 w 2105030"/>
              <a:gd name="connsiteY5" fmla="*/ 1969139 h 2170490"/>
              <a:gd name="connsiteX6" fmla="*/ 1452568 w 2105030"/>
              <a:gd name="connsiteY6" fmla="*/ 2116777 h 2170490"/>
              <a:gd name="connsiteX7" fmla="*/ 1688313 w 2105030"/>
              <a:gd name="connsiteY7" fmla="*/ 1030927 h 2170490"/>
              <a:gd name="connsiteX8" fmla="*/ 1745462 w 2105030"/>
              <a:gd name="connsiteY8" fmla="*/ 902339 h 2170490"/>
              <a:gd name="connsiteX9" fmla="*/ 1988350 w 2105030"/>
              <a:gd name="connsiteY9" fmla="*/ 852333 h 2170490"/>
              <a:gd name="connsiteX10" fmla="*/ 2105030 w 2105030"/>
              <a:gd name="connsiteY10" fmla="*/ 771370 h 2170490"/>
              <a:gd name="connsiteX11" fmla="*/ 1333506 w 2105030"/>
              <a:gd name="connsiteY11" fmla="*/ 623734 h 2170490"/>
              <a:gd name="connsiteX12" fmla="*/ 834080 w 2105030"/>
              <a:gd name="connsiteY12" fmla="*/ 0 h 2170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05030" h="2170490">
                <a:moveTo>
                  <a:pt x="834080" y="0"/>
                </a:moveTo>
                <a:cubicBezTo>
                  <a:pt x="830905" y="38100"/>
                  <a:pt x="808043" y="114145"/>
                  <a:pt x="814393" y="149864"/>
                </a:cubicBezTo>
                <a:cubicBezTo>
                  <a:pt x="828680" y="214158"/>
                  <a:pt x="885036" y="326870"/>
                  <a:pt x="912024" y="423708"/>
                </a:cubicBezTo>
                <a:cubicBezTo>
                  <a:pt x="893767" y="477683"/>
                  <a:pt x="873130" y="499908"/>
                  <a:pt x="833443" y="530864"/>
                </a:cubicBezTo>
                <a:cubicBezTo>
                  <a:pt x="627069" y="627702"/>
                  <a:pt x="112531" y="884646"/>
                  <a:pt x="6" y="1307152"/>
                </a:cubicBezTo>
                <a:cubicBezTo>
                  <a:pt x="-1581" y="1508764"/>
                  <a:pt x="324649" y="1834202"/>
                  <a:pt x="566743" y="1969139"/>
                </a:cubicBezTo>
                <a:cubicBezTo>
                  <a:pt x="808837" y="2104076"/>
                  <a:pt x="1239049" y="2252508"/>
                  <a:pt x="1452568" y="2116777"/>
                </a:cubicBezTo>
                <a:cubicBezTo>
                  <a:pt x="1704674" y="1767787"/>
                  <a:pt x="1713713" y="1270640"/>
                  <a:pt x="1688313" y="1030927"/>
                </a:cubicBezTo>
                <a:cubicBezTo>
                  <a:pt x="1704982" y="969014"/>
                  <a:pt x="1719268" y="940439"/>
                  <a:pt x="1745462" y="902339"/>
                </a:cubicBezTo>
                <a:cubicBezTo>
                  <a:pt x="1780387" y="862651"/>
                  <a:pt x="1928422" y="874161"/>
                  <a:pt x="1988350" y="852333"/>
                </a:cubicBezTo>
                <a:cubicBezTo>
                  <a:pt x="2048278" y="830505"/>
                  <a:pt x="2083599" y="805501"/>
                  <a:pt x="2105030" y="771370"/>
                </a:cubicBezTo>
                <a:cubicBezTo>
                  <a:pt x="1905006" y="956314"/>
                  <a:pt x="1495430" y="715015"/>
                  <a:pt x="1333506" y="623734"/>
                </a:cubicBezTo>
                <a:cubicBezTo>
                  <a:pt x="987431" y="437202"/>
                  <a:pt x="839637" y="143669"/>
                  <a:pt x="834080" y="0"/>
                </a:cubicBezTo>
                <a:close/>
              </a:path>
            </a:pathLst>
          </a:custGeom>
          <a:gradFill flip="none" rotWithShape="1">
            <a:gsLst>
              <a:gs pos="38000">
                <a:srgbClr val="1F497D">
                  <a:lumMod val="75000"/>
                  <a:lumOff val="25000"/>
                </a:srgbClr>
              </a:gs>
              <a:gs pos="100000">
                <a:srgbClr val="1F497D">
                  <a:lumMod val="10000"/>
                  <a:lumOff val="90000"/>
                </a:srgbClr>
              </a:gs>
            </a:gsLst>
            <a:lin ang="2700000" scaled="1"/>
            <a:tileRect/>
          </a:gra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23" name="Freeform 22"/>
          <p:cNvSpPr/>
          <p:nvPr/>
        </p:nvSpPr>
        <p:spPr>
          <a:xfrm rot="21160225">
            <a:off x="6950629" y="1425337"/>
            <a:ext cx="127656" cy="73941"/>
          </a:xfrm>
          <a:custGeom>
            <a:avLst/>
            <a:gdLst>
              <a:gd name="connsiteX0" fmla="*/ 0 w 857250"/>
              <a:gd name="connsiteY0" fmla="*/ 0 h 533400"/>
              <a:gd name="connsiteX1" fmla="*/ 295275 w 857250"/>
              <a:gd name="connsiteY1" fmla="*/ 374650 h 533400"/>
              <a:gd name="connsiteX2" fmla="*/ 768350 w 857250"/>
              <a:gd name="connsiteY2" fmla="*/ 533400 h 533400"/>
              <a:gd name="connsiteX3" fmla="*/ 857250 w 857250"/>
              <a:gd name="connsiteY3" fmla="*/ 482600 h 533400"/>
              <a:gd name="connsiteX4" fmla="*/ 857250 w 857250"/>
              <a:gd name="connsiteY4" fmla="*/ 482600 h 533400"/>
              <a:gd name="connsiteX0" fmla="*/ 0 w 857250"/>
              <a:gd name="connsiteY0" fmla="*/ 0 h 533400"/>
              <a:gd name="connsiteX1" fmla="*/ 18256 w 857250"/>
              <a:gd name="connsiteY1" fmla="*/ 121444 h 533400"/>
              <a:gd name="connsiteX2" fmla="*/ 295275 w 857250"/>
              <a:gd name="connsiteY2" fmla="*/ 374650 h 533400"/>
              <a:gd name="connsiteX3" fmla="*/ 768350 w 857250"/>
              <a:gd name="connsiteY3" fmla="*/ 533400 h 533400"/>
              <a:gd name="connsiteX4" fmla="*/ 857250 w 857250"/>
              <a:gd name="connsiteY4" fmla="*/ 482600 h 533400"/>
              <a:gd name="connsiteX5" fmla="*/ 857250 w 857250"/>
              <a:gd name="connsiteY5" fmla="*/ 482600 h 533400"/>
              <a:gd name="connsiteX0" fmla="*/ 27606 w 844375"/>
              <a:gd name="connsiteY0" fmla="*/ 0 h 564356"/>
              <a:gd name="connsiteX1" fmla="*/ 5381 w 844375"/>
              <a:gd name="connsiteY1" fmla="*/ 152400 h 564356"/>
              <a:gd name="connsiteX2" fmla="*/ 282400 w 844375"/>
              <a:gd name="connsiteY2" fmla="*/ 405606 h 564356"/>
              <a:gd name="connsiteX3" fmla="*/ 755475 w 844375"/>
              <a:gd name="connsiteY3" fmla="*/ 564356 h 564356"/>
              <a:gd name="connsiteX4" fmla="*/ 844375 w 844375"/>
              <a:gd name="connsiteY4" fmla="*/ 513556 h 564356"/>
              <a:gd name="connsiteX5" fmla="*/ 844375 w 844375"/>
              <a:gd name="connsiteY5" fmla="*/ 513556 h 564356"/>
              <a:gd name="connsiteX0" fmla="*/ 40117 w 856886"/>
              <a:gd name="connsiteY0" fmla="*/ 0 h 564356"/>
              <a:gd name="connsiteX1" fmla="*/ 17892 w 856886"/>
              <a:gd name="connsiteY1" fmla="*/ 152400 h 564356"/>
              <a:gd name="connsiteX2" fmla="*/ 294911 w 856886"/>
              <a:gd name="connsiteY2" fmla="*/ 405606 h 564356"/>
              <a:gd name="connsiteX3" fmla="*/ 767986 w 856886"/>
              <a:gd name="connsiteY3" fmla="*/ 564356 h 564356"/>
              <a:gd name="connsiteX4" fmla="*/ 856886 w 856886"/>
              <a:gd name="connsiteY4" fmla="*/ 513556 h 564356"/>
              <a:gd name="connsiteX5" fmla="*/ 856886 w 856886"/>
              <a:gd name="connsiteY5" fmla="*/ 513556 h 564356"/>
              <a:gd name="connsiteX0" fmla="*/ 40117 w 856886"/>
              <a:gd name="connsiteY0" fmla="*/ 0 h 564356"/>
              <a:gd name="connsiteX1" fmla="*/ 17892 w 856886"/>
              <a:gd name="connsiteY1" fmla="*/ 152400 h 564356"/>
              <a:gd name="connsiteX2" fmla="*/ 294911 w 856886"/>
              <a:gd name="connsiteY2" fmla="*/ 405606 h 564356"/>
              <a:gd name="connsiteX3" fmla="*/ 767986 w 856886"/>
              <a:gd name="connsiteY3" fmla="*/ 564356 h 564356"/>
              <a:gd name="connsiteX4" fmla="*/ 856886 w 856886"/>
              <a:gd name="connsiteY4" fmla="*/ 513556 h 564356"/>
              <a:gd name="connsiteX5" fmla="*/ 856886 w 856886"/>
              <a:gd name="connsiteY5" fmla="*/ 513556 h 564356"/>
              <a:gd name="connsiteX0" fmla="*/ 40117 w 856886"/>
              <a:gd name="connsiteY0" fmla="*/ 0 h 564356"/>
              <a:gd name="connsiteX1" fmla="*/ 17892 w 856886"/>
              <a:gd name="connsiteY1" fmla="*/ 152400 h 564356"/>
              <a:gd name="connsiteX2" fmla="*/ 294911 w 856886"/>
              <a:gd name="connsiteY2" fmla="*/ 405606 h 564356"/>
              <a:gd name="connsiteX3" fmla="*/ 767986 w 856886"/>
              <a:gd name="connsiteY3" fmla="*/ 564356 h 564356"/>
              <a:gd name="connsiteX4" fmla="*/ 856886 w 856886"/>
              <a:gd name="connsiteY4" fmla="*/ 513556 h 564356"/>
              <a:gd name="connsiteX5" fmla="*/ 856886 w 856886"/>
              <a:gd name="connsiteY5" fmla="*/ 513556 h 564356"/>
              <a:gd name="connsiteX0" fmla="*/ 40117 w 856886"/>
              <a:gd name="connsiteY0" fmla="*/ 0 h 564356"/>
              <a:gd name="connsiteX1" fmla="*/ 17892 w 856886"/>
              <a:gd name="connsiteY1" fmla="*/ 152400 h 564356"/>
              <a:gd name="connsiteX2" fmla="*/ 294911 w 856886"/>
              <a:gd name="connsiteY2" fmla="*/ 405606 h 564356"/>
              <a:gd name="connsiteX3" fmla="*/ 767986 w 856886"/>
              <a:gd name="connsiteY3" fmla="*/ 564356 h 564356"/>
              <a:gd name="connsiteX4" fmla="*/ 856886 w 856886"/>
              <a:gd name="connsiteY4" fmla="*/ 513556 h 564356"/>
              <a:gd name="connsiteX5" fmla="*/ 856886 w 856886"/>
              <a:gd name="connsiteY5" fmla="*/ 513556 h 564356"/>
              <a:gd name="connsiteX0" fmla="*/ 40117 w 856886"/>
              <a:gd name="connsiteY0" fmla="*/ 0 h 564356"/>
              <a:gd name="connsiteX1" fmla="*/ 17892 w 856886"/>
              <a:gd name="connsiteY1" fmla="*/ 152400 h 564356"/>
              <a:gd name="connsiteX2" fmla="*/ 294911 w 856886"/>
              <a:gd name="connsiteY2" fmla="*/ 405606 h 564356"/>
              <a:gd name="connsiteX3" fmla="*/ 767986 w 856886"/>
              <a:gd name="connsiteY3" fmla="*/ 564356 h 564356"/>
              <a:gd name="connsiteX4" fmla="*/ 856886 w 856886"/>
              <a:gd name="connsiteY4" fmla="*/ 513556 h 564356"/>
              <a:gd name="connsiteX5" fmla="*/ 856886 w 856886"/>
              <a:gd name="connsiteY5" fmla="*/ 513556 h 564356"/>
              <a:gd name="connsiteX0" fmla="*/ 40117 w 856886"/>
              <a:gd name="connsiteY0" fmla="*/ 0 h 564356"/>
              <a:gd name="connsiteX1" fmla="*/ 17892 w 856886"/>
              <a:gd name="connsiteY1" fmla="*/ 152400 h 564356"/>
              <a:gd name="connsiteX2" fmla="*/ 318724 w 856886"/>
              <a:gd name="connsiteY2" fmla="*/ 417512 h 564356"/>
              <a:gd name="connsiteX3" fmla="*/ 767986 w 856886"/>
              <a:gd name="connsiteY3" fmla="*/ 564356 h 564356"/>
              <a:gd name="connsiteX4" fmla="*/ 856886 w 856886"/>
              <a:gd name="connsiteY4" fmla="*/ 513556 h 564356"/>
              <a:gd name="connsiteX5" fmla="*/ 856886 w 856886"/>
              <a:gd name="connsiteY5" fmla="*/ 513556 h 564356"/>
              <a:gd name="connsiteX0" fmla="*/ 40117 w 856886"/>
              <a:gd name="connsiteY0" fmla="*/ 0 h 564356"/>
              <a:gd name="connsiteX1" fmla="*/ 17892 w 856886"/>
              <a:gd name="connsiteY1" fmla="*/ 152400 h 564356"/>
              <a:gd name="connsiteX2" fmla="*/ 318724 w 856886"/>
              <a:gd name="connsiteY2" fmla="*/ 417512 h 564356"/>
              <a:gd name="connsiteX3" fmla="*/ 767986 w 856886"/>
              <a:gd name="connsiteY3" fmla="*/ 564356 h 564356"/>
              <a:gd name="connsiteX4" fmla="*/ 856886 w 856886"/>
              <a:gd name="connsiteY4" fmla="*/ 513556 h 564356"/>
              <a:gd name="connsiteX5" fmla="*/ 856886 w 856886"/>
              <a:gd name="connsiteY5" fmla="*/ 513556 h 564356"/>
              <a:gd name="connsiteX0" fmla="*/ 40117 w 856886"/>
              <a:gd name="connsiteY0" fmla="*/ 0 h 564356"/>
              <a:gd name="connsiteX1" fmla="*/ 17892 w 856886"/>
              <a:gd name="connsiteY1" fmla="*/ 152400 h 564356"/>
              <a:gd name="connsiteX2" fmla="*/ 311580 w 856886"/>
              <a:gd name="connsiteY2" fmla="*/ 417512 h 564356"/>
              <a:gd name="connsiteX3" fmla="*/ 767986 w 856886"/>
              <a:gd name="connsiteY3" fmla="*/ 564356 h 564356"/>
              <a:gd name="connsiteX4" fmla="*/ 856886 w 856886"/>
              <a:gd name="connsiteY4" fmla="*/ 513556 h 564356"/>
              <a:gd name="connsiteX5" fmla="*/ 856886 w 856886"/>
              <a:gd name="connsiteY5" fmla="*/ 513556 h 564356"/>
              <a:gd name="connsiteX0" fmla="*/ 40117 w 856886"/>
              <a:gd name="connsiteY0" fmla="*/ 0 h 564356"/>
              <a:gd name="connsiteX1" fmla="*/ 17892 w 856886"/>
              <a:gd name="connsiteY1" fmla="*/ 152400 h 564356"/>
              <a:gd name="connsiteX2" fmla="*/ 311580 w 856886"/>
              <a:gd name="connsiteY2" fmla="*/ 417512 h 564356"/>
              <a:gd name="connsiteX3" fmla="*/ 767986 w 856886"/>
              <a:gd name="connsiteY3" fmla="*/ 564356 h 564356"/>
              <a:gd name="connsiteX4" fmla="*/ 856886 w 856886"/>
              <a:gd name="connsiteY4" fmla="*/ 513556 h 564356"/>
              <a:gd name="connsiteX5" fmla="*/ 856886 w 856886"/>
              <a:gd name="connsiteY5" fmla="*/ 513556 h 564356"/>
              <a:gd name="connsiteX0" fmla="*/ 40117 w 878318"/>
              <a:gd name="connsiteY0" fmla="*/ 0 h 564356"/>
              <a:gd name="connsiteX1" fmla="*/ 17892 w 878318"/>
              <a:gd name="connsiteY1" fmla="*/ 152400 h 564356"/>
              <a:gd name="connsiteX2" fmla="*/ 311580 w 878318"/>
              <a:gd name="connsiteY2" fmla="*/ 417512 h 564356"/>
              <a:gd name="connsiteX3" fmla="*/ 767986 w 878318"/>
              <a:gd name="connsiteY3" fmla="*/ 564356 h 564356"/>
              <a:gd name="connsiteX4" fmla="*/ 856886 w 878318"/>
              <a:gd name="connsiteY4" fmla="*/ 513556 h 564356"/>
              <a:gd name="connsiteX5" fmla="*/ 878318 w 878318"/>
              <a:gd name="connsiteY5" fmla="*/ 473075 h 564356"/>
              <a:gd name="connsiteX0" fmla="*/ 40117 w 878318"/>
              <a:gd name="connsiteY0" fmla="*/ 0 h 564356"/>
              <a:gd name="connsiteX1" fmla="*/ 17892 w 878318"/>
              <a:gd name="connsiteY1" fmla="*/ 152400 h 564356"/>
              <a:gd name="connsiteX2" fmla="*/ 311580 w 878318"/>
              <a:gd name="connsiteY2" fmla="*/ 417512 h 564356"/>
              <a:gd name="connsiteX3" fmla="*/ 767986 w 878318"/>
              <a:gd name="connsiteY3" fmla="*/ 564356 h 564356"/>
              <a:gd name="connsiteX4" fmla="*/ 821167 w 878318"/>
              <a:gd name="connsiteY4" fmla="*/ 542131 h 564356"/>
              <a:gd name="connsiteX5" fmla="*/ 878318 w 878318"/>
              <a:gd name="connsiteY5" fmla="*/ 473075 h 564356"/>
              <a:gd name="connsiteX0" fmla="*/ 40117 w 878318"/>
              <a:gd name="connsiteY0" fmla="*/ 0 h 565086"/>
              <a:gd name="connsiteX1" fmla="*/ 17892 w 878318"/>
              <a:gd name="connsiteY1" fmla="*/ 152400 h 565086"/>
              <a:gd name="connsiteX2" fmla="*/ 311580 w 878318"/>
              <a:gd name="connsiteY2" fmla="*/ 417512 h 565086"/>
              <a:gd name="connsiteX3" fmla="*/ 767986 w 878318"/>
              <a:gd name="connsiteY3" fmla="*/ 564356 h 565086"/>
              <a:gd name="connsiteX4" fmla="*/ 878318 w 878318"/>
              <a:gd name="connsiteY4" fmla="*/ 473075 h 565086"/>
              <a:gd name="connsiteX0" fmla="*/ 40117 w 878318"/>
              <a:gd name="connsiteY0" fmla="*/ 0 h 565015"/>
              <a:gd name="connsiteX1" fmla="*/ 17892 w 878318"/>
              <a:gd name="connsiteY1" fmla="*/ 152400 h 565015"/>
              <a:gd name="connsiteX2" fmla="*/ 311580 w 878318"/>
              <a:gd name="connsiteY2" fmla="*/ 417512 h 565015"/>
              <a:gd name="connsiteX3" fmla="*/ 767986 w 878318"/>
              <a:gd name="connsiteY3" fmla="*/ 564356 h 565015"/>
              <a:gd name="connsiteX4" fmla="*/ 878318 w 878318"/>
              <a:gd name="connsiteY4" fmla="*/ 463550 h 565015"/>
              <a:gd name="connsiteX0" fmla="*/ 40117 w 878318"/>
              <a:gd name="connsiteY0" fmla="*/ 0 h 564356"/>
              <a:gd name="connsiteX1" fmla="*/ 17892 w 878318"/>
              <a:gd name="connsiteY1" fmla="*/ 152400 h 564356"/>
              <a:gd name="connsiteX2" fmla="*/ 311580 w 878318"/>
              <a:gd name="connsiteY2" fmla="*/ 417512 h 564356"/>
              <a:gd name="connsiteX3" fmla="*/ 767986 w 878318"/>
              <a:gd name="connsiteY3" fmla="*/ 564356 h 564356"/>
              <a:gd name="connsiteX4" fmla="*/ 878318 w 878318"/>
              <a:gd name="connsiteY4" fmla="*/ 463550 h 564356"/>
              <a:gd name="connsiteX0" fmla="*/ 0 w 860426"/>
              <a:gd name="connsiteY0" fmla="*/ 0 h 411956"/>
              <a:gd name="connsiteX1" fmla="*/ 293688 w 860426"/>
              <a:gd name="connsiteY1" fmla="*/ 265112 h 411956"/>
              <a:gd name="connsiteX2" fmla="*/ 750094 w 860426"/>
              <a:gd name="connsiteY2" fmla="*/ 411956 h 411956"/>
              <a:gd name="connsiteX3" fmla="*/ 860426 w 860426"/>
              <a:gd name="connsiteY3" fmla="*/ 311150 h 411956"/>
              <a:gd name="connsiteX0" fmla="*/ 0 w 884238"/>
              <a:gd name="connsiteY0" fmla="*/ 0 h 481012"/>
              <a:gd name="connsiteX1" fmla="*/ 317500 w 884238"/>
              <a:gd name="connsiteY1" fmla="*/ 334168 h 481012"/>
              <a:gd name="connsiteX2" fmla="*/ 773906 w 884238"/>
              <a:gd name="connsiteY2" fmla="*/ 481012 h 481012"/>
              <a:gd name="connsiteX3" fmla="*/ 884238 w 884238"/>
              <a:gd name="connsiteY3" fmla="*/ 380206 h 481012"/>
              <a:gd name="connsiteX0" fmla="*/ 31 w 884269"/>
              <a:gd name="connsiteY0" fmla="*/ 0 h 481012"/>
              <a:gd name="connsiteX1" fmla="*/ 317531 w 884269"/>
              <a:gd name="connsiteY1" fmla="*/ 334168 h 481012"/>
              <a:gd name="connsiteX2" fmla="*/ 773937 w 884269"/>
              <a:gd name="connsiteY2" fmla="*/ 481012 h 481012"/>
              <a:gd name="connsiteX3" fmla="*/ 884269 w 884269"/>
              <a:gd name="connsiteY3" fmla="*/ 380206 h 481012"/>
              <a:gd name="connsiteX0" fmla="*/ 31 w 773937"/>
              <a:gd name="connsiteY0" fmla="*/ 0 h 481012"/>
              <a:gd name="connsiteX1" fmla="*/ 317531 w 773937"/>
              <a:gd name="connsiteY1" fmla="*/ 334168 h 481012"/>
              <a:gd name="connsiteX2" fmla="*/ 773937 w 773937"/>
              <a:gd name="connsiteY2" fmla="*/ 481012 h 481012"/>
              <a:gd name="connsiteX0" fmla="*/ 31 w 845375"/>
              <a:gd name="connsiteY0" fmla="*/ 0 h 464343"/>
              <a:gd name="connsiteX1" fmla="*/ 317531 w 845375"/>
              <a:gd name="connsiteY1" fmla="*/ 334168 h 464343"/>
              <a:gd name="connsiteX2" fmla="*/ 845375 w 845375"/>
              <a:gd name="connsiteY2" fmla="*/ 464343 h 464343"/>
              <a:gd name="connsiteX0" fmla="*/ 31 w 845375"/>
              <a:gd name="connsiteY0" fmla="*/ 0 h 489661"/>
              <a:gd name="connsiteX1" fmla="*/ 317531 w 845375"/>
              <a:gd name="connsiteY1" fmla="*/ 334168 h 489661"/>
              <a:gd name="connsiteX2" fmla="*/ 845375 w 845375"/>
              <a:gd name="connsiteY2" fmla="*/ 464343 h 489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45375" h="489661">
                <a:moveTo>
                  <a:pt x="31" y="0"/>
                </a:moveTo>
                <a:cubicBezTo>
                  <a:pt x="-2880" y="84401"/>
                  <a:pt x="198997" y="264052"/>
                  <a:pt x="317531" y="334168"/>
                </a:cubicBezTo>
                <a:cubicBezTo>
                  <a:pt x="346635" y="348984"/>
                  <a:pt x="654345" y="561445"/>
                  <a:pt x="845375" y="464343"/>
                </a:cubicBezTo>
              </a:path>
            </a:pathLst>
          </a:custGeom>
          <a:noFill/>
          <a:ln w="3175" cap="flat" cmpd="sng" algn="ctr">
            <a:solidFill>
              <a:srgbClr val="00B0F0"/>
            </a:solidFill>
            <a:prstDash val="solid"/>
          </a:ln>
          <a:effectLst/>
        </p:spPr>
        <p:txBody>
          <a:bodyPr rtlCol="0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24" name="Oval 23"/>
          <p:cNvSpPr/>
          <p:nvPr/>
        </p:nvSpPr>
        <p:spPr>
          <a:xfrm rot="1419533">
            <a:off x="6925190" y="1401155"/>
            <a:ext cx="216702" cy="65156"/>
          </a:xfrm>
          <a:prstGeom prst="ellipse">
            <a:avLst/>
          </a:prstGeom>
          <a:solidFill>
            <a:srgbClr val="0070C0"/>
          </a:solidFill>
          <a:ln w="6350" cap="flat" cmpd="sng" algn="ctr">
            <a:solidFill>
              <a:srgbClr val="00B0F0"/>
            </a:solidFill>
            <a:prstDash val="solid"/>
          </a:ln>
          <a:effectLst/>
        </p:spPr>
        <p:txBody>
          <a:bodyPr rtlCol="0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6746613" y="1802308"/>
            <a:ext cx="132820" cy="132820"/>
          </a:xfrm>
          <a:prstGeom prst="ellipse">
            <a:avLst/>
          </a:prstGeom>
          <a:solidFill>
            <a:srgbClr val="FFFFFF"/>
          </a:solidFill>
          <a:ln w="25400" cap="flat" cmpd="sng" algn="ctr">
            <a:solidFill>
              <a:srgbClr val="D7DEE5"/>
            </a:solidFill>
            <a:prstDash val="solid"/>
          </a:ln>
          <a:effectLst/>
        </p:spPr>
        <p:txBody>
          <a:bodyPr rtlCol="0" anchor="ctr"/>
          <a:lstStyle/>
          <a:p>
            <a:pPr algn="ctr" defTabSz="685749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400" kern="0">
              <a:solidFill>
                <a:srgbClr val="FFFFFF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47092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Object 9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525650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">
                  <p:embed/>
                </p:oleObj>
              </mc:Choice>
              <mc:Fallback>
                <p:oleObj name="think-cell Slide" r:id="rId3" imgW="270" imgH="27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5090820" y="4064184"/>
            <a:ext cx="3731138" cy="400110"/>
          </a:xfrm>
        </p:spPr>
        <p:txBody>
          <a:bodyPr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COMPANY NAME</a:t>
            </a:r>
            <a:endParaRPr lang="en-IN" sz="1600" b="0" dirty="0">
              <a:solidFill>
                <a:schemeClr val="tx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12914" y="1829892"/>
            <a:ext cx="4068742" cy="1629661"/>
            <a:chOff x="5075258" y="957805"/>
            <a:chExt cx="4068742" cy="1442290"/>
          </a:xfrm>
        </p:grpSpPr>
        <p:grpSp>
          <p:nvGrpSpPr>
            <p:cNvPr id="8" name="Group 16"/>
            <p:cNvGrpSpPr/>
            <p:nvPr/>
          </p:nvGrpSpPr>
          <p:grpSpPr>
            <a:xfrm>
              <a:off x="5081070" y="957805"/>
              <a:ext cx="4062930" cy="1066329"/>
              <a:chOff x="6553199" y="152400"/>
              <a:chExt cx="2438401" cy="685800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6553199" y="152400"/>
                <a:ext cx="2438400" cy="342901"/>
              </a:xfrm>
              <a:prstGeom prst="rect">
                <a:avLst/>
              </a:prstGeom>
              <a:solidFill>
                <a:srgbClr val="193D6B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r>
                  <a:rPr lang="en-US" sz="2500" b="1" dirty="0">
                    <a:solidFill>
                      <a:schemeClr val="bg1"/>
                    </a:solidFill>
                    <a:latin typeface="GillSans" pitchFamily="34" charset="0"/>
                  </a:rPr>
                  <a:t>Project Evaluation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6553200" y="495300"/>
                <a:ext cx="2438400" cy="342900"/>
              </a:xfrm>
              <a:prstGeom prst="rect">
                <a:avLst/>
              </a:prstGeom>
              <a:solidFill>
                <a:srgbClr val="FFFFFF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lvl="0" algn="ctr" defTabSz="914400" rtl="0" eaLnBrk="1" latinLnBrk="0" hangingPunct="1"/>
                <a:r>
                  <a:rPr lang="en-US" sz="2500" b="1" kern="1200" dirty="0">
                    <a:solidFill>
                      <a:srgbClr val="193D6B"/>
                    </a:solidFill>
                    <a:latin typeface="GillSans" pitchFamily="34" charset="0"/>
                    <a:ea typeface="+mn-ea"/>
                    <a:cs typeface="+mn-cs"/>
                  </a:rPr>
                  <a:t>&amp; Recognition Program</a:t>
                </a:r>
              </a:p>
            </p:txBody>
          </p:sp>
        </p:grpSp>
        <p:sp>
          <p:nvSpPr>
            <p:cNvPr id="9" name="Subtitle 4"/>
            <p:cNvSpPr txBox="1">
              <a:spLocks/>
            </p:cNvSpPr>
            <p:nvPr/>
          </p:nvSpPr>
          <p:spPr>
            <a:xfrm>
              <a:off x="5075258" y="2127705"/>
              <a:ext cx="1962150" cy="272390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buFontTx/>
                <a:buNone/>
                <a:defRPr sz="1200" kern="12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spcBef>
                  <a:spcPts val="0"/>
                </a:spcBef>
                <a:buClr>
                  <a:schemeClr val="tx2"/>
                </a:buClr>
                <a:buSzPct val="125000"/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j-lt"/>
                  <a:ea typeface="+mn-ea"/>
                  <a:cs typeface="Arial" panose="020B0604020202020204" pitchFamily="34" charset="0"/>
                </a:defRPr>
              </a:lvl2pPr>
              <a:lvl3pPr marL="914400" indent="0" algn="ctr" defTabSz="914400" rtl="0" eaLnBrk="1" latinLnBrk="0" hangingPunct="1"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j-lt"/>
                  <a:ea typeface="+mn-ea"/>
                  <a:cs typeface="Arial" panose="020B0604020202020204" pitchFamily="34" charset="0"/>
                </a:defRPr>
              </a:lvl3pPr>
              <a:lvl4pPr marL="1371600" indent="0" algn="ctr" defTabSz="914400" rtl="0" eaLnBrk="1" latinLnBrk="0" hangingPunct="1">
                <a:spcBef>
                  <a:spcPts val="0"/>
                </a:spcBef>
                <a:buClr>
                  <a:schemeClr val="tx2"/>
                </a:buClr>
                <a:buSzPct val="95000"/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j-lt"/>
                  <a:ea typeface="+mn-ea"/>
                  <a:cs typeface="Arial" panose="020B0604020202020204" pitchFamily="34" charset="0"/>
                </a:defRPr>
              </a:lvl4pPr>
              <a:lvl5pPr marL="1828800" indent="0" algn="ctr" defTabSz="914400" rtl="0" eaLnBrk="1" latinLnBrk="0" hangingPunct="1">
                <a:spcBef>
                  <a:spcPts val="0"/>
                </a:spcBef>
                <a:buClr>
                  <a:schemeClr val="tx2"/>
                </a:buClr>
                <a:buSzPct val="120000"/>
                <a:buFont typeface="Arial" panose="020B0604020202020204" pitchFamily="34" charset="0"/>
                <a:buNone/>
                <a:defRPr sz="1600" kern="1200">
                  <a:solidFill>
                    <a:schemeClr val="tx1">
                      <a:tint val="75000"/>
                    </a:schemeClr>
                  </a:solidFill>
                  <a:latin typeface="+mj-lt"/>
                  <a:ea typeface="+mn-ea"/>
                  <a:cs typeface="Arial" panose="020B0604020202020204" pitchFamily="34" charset="0"/>
                </a:defRPr>
              </a:lvl5pPr>
              <a:lvl6pPr marL="2286000" indent="0" algn="ctr" defTabSz="914400" rtl="0" eaLnBrk="1" latinLnBrk="0" hangingPunct="1">
                <a:spcBef>
                  <a:spcPts val="0"/>
                </a:spcBef>
                <a:buClr>
                  <a:schemeClr val="tx2"/>
                </a:buClr>
                <a:buSzPct val="90000"/>
                <a:buFont typeface="Arial" panose="020B0604020202020204" pitchFamily="34" charset="0"/>
                <a:buNone/>
                <a:defRPr sz="1600" kern="1200" baseline="0">
                  <a:solidFill>
                    <a:schemeClr val="tx1">
                      <a:tint val="75000"/>
                    </a:schemeClr>
                  </a:solidFill>
                  <a:latin typeface="+mj-lt"/>
                  <a:ea typeface="+mn-ea"/>
                  <a:cs typeface="Arial" panose="020B0604020202020204" pitchFamily="34" charset="0"/>
                </a:defRPr>
              </a:lvl6pPr>
              <a:lvl7pPr marL="2743200" indent="0" algn="ctr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5937817" y="1683594"/>
            <a:ext cx="2037144" cy="218761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dirty="0">
                <a:solidFill>
                  <a:schemeClr val="tx1"/>
                </a:solidFill>
              </a:rPr>
              <a:t>COMPANY</a:t>
            </a:r>
          </a:p>
          <a:p>
            <a:pPr algn="ctr"/>
            <a:r>
              <a:rPr lang="en-IN" dirty="0">
                <a:solidFill>
                  <a:schemeClr val="tx1"/>
                </a:solidFill>
              </a:rPr>
              <a:t>LOGO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861596" y="1401707"/>
            <a:ext cx="0" cy="374179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233464" y="880937"/>
            <a:ext cx="8628434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400" b="0" cap="none" spc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NOMINATION CATEGORY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512914" y="3508200"/>
            <a:ext cx="3897035" cy="400110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2600" b="1" kern="1200" dirty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IN" dirty="0">
                <a:solidFill>
                  <a:schemeClr val="tx1"/>
                </a:solidFill>
              </a:rPr>
              <a:t>PROJECT TITLE</a:t>
            </a:r>
            <a:endParaRPr lang="en-IN" sz="16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6848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2919" y="946920"/>
            <a:ext cx="8463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ackground of the company and products</a:t>
            </a:r>
            <a:endParaRPr lang="en-IN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2579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2919" y="943013"/>
            <a:ext cx="8463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Outlined Project Objectives and Proposed Targets</a:t>
            </a:r>
            <a:endParaRPr lang="en-IN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879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2919" y="943013"/>
            <a:ext cx="8463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roject Team</a:t>
            </a:r>
            <a:endParaRPr lang="en-IN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0047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2919" y="956661"/>
            <a:ext cx="8463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usiness Case  </a:t>
            </a:r>
            <a:r>
              <a:rPr lang="en-US" sz="1600" b="1" i="1" dirty="0">
                <a:solidFill>
                  <a:schemeClr val="bg1"/>
                </a:solidFill>
              </a:rPr>
              <a:t>(Investment Landscape </a:t>
            </a:r>
            <a:r>
              <a:rPr lang="en-US" sz="1600" b="1" i="1" dirty="0" err="1">
                <a:solidFill>
                  <a:schemeClr val="bg1"/>
                </a:solidFill>
              </a:rPr>
              <a:t>vs</a:t>
            </a:r>
            <a:r>
              <a:rPr lang="en-US" sz="1600" b="1" i="1" dirty="0">
                <a:solidFill>
                  <a:schemeClr val="bg1"/>
                </a:solidFill>
              </a:rPr>
              <a:t> Benefits if any)</a:t>
            </a:r>
            <a:endParaRPr lang="en-IN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8797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2919" y="943013"/>
            <a:ext cx="8463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Description of the Problem or the Opportunity for Improvement</a:t>
            </a:r>
            <a:endParaRPr lang="en-IN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8797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2919" y="943013"/>
            <a:ext cx="8463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olidFill>
                  <a:schemeClr val="bg1"/>
                </a:solidFill>
              </a:rPr>
              <a:t>Implementation Approach </a:t>
            </a:r>
          </a:p>
        </p:txBody>
      </p:sp>
    </p:spTree>
    <p:extLst>
      <p:ext uri="{BB962C8B-B14F-4D97-AF65-F5344CB8AC3E}">
        <p14:creationId xmlns:p14="http://schemas.microsoft.com/office/powerpoint/2010/main" val="8558797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2919" y="943013"/>
            <a:ext cx="84630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olidFill>
                  <a:schemeClr val="bg1"/>
                </a:solidFill>
              </a:rPr>
              <a:t>Project Stakeholders &amp; Project Team</a:t>
            </a:r>
          </a:p>
        </p:txBody>
      </p:sp>
    </p:spTree>
    <p:extLst>
      <p:ext uri="{BB962C8B-B14F-4D97-AF65-F5344CB8AC3E}">
        <p14:creationId xmlns:p14="http://schemas.microsoft.com/office/powerpoint/2010/main" val="855879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 template">
  <a:themeElements>
    <a:clrScheme name="ICT">
      <a:dk1>
        <a:srgbClr val="000000"/>
      </a:dk1>
      <a:lt1>
        <a:srgbClr val="FFFFFF"/>
      </a:lt1>
      <a:dk2>
        <a:srgbClr val="003760"/>
      </a:dk2>
      <a:lt2>
        <a:srgbClr val="A6012C"/>
      </a:lt2>
      <a:accent1>
        <a:srgbClr val="0960C7"/>
      </a:accent1>
      <a:accent2>
        <a:srgbClr val="1A4C60"/>
      </a:accent2>
      <a:accent3>
        <a:srgbClr val="0E9ACD"/>
      </a:accent3>
      <a:accent4>
        <a:srgbClr val="04C8CC"/>
      </a:accent4>
      <a:accent5>
        <a:srgbClr val="04BD8F"/>
      </a:accent5>
      <a:accent6>
        <a:srgbClr val="3F3F3F"/>
      </a:accent6>
      <a:hlink>
        <a:srgbClr val="3F3F3F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9</TotalTime>
  <Words>72</Words>
  <Application>Microsoft Office PowerPoint</Application>
  <PresentationFormat>On-screen Show (16:9)</PresentationFormat>
  <Paragraphs>19</Paragraphs>
  <Slides>1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Freestyle Script</vt:lpstr>
      <vt:lpstr>GillSans</vt:lpstr>
      <vt:lpstr>Standard template</vt:lpstr>
      <vt:lpstr>think-cell Slide</vt:lpstr>
      <vt:lpstr>PowerPoint Presentation</vt:lpstr>
      <vt:lpstr>COMPANY NA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etha Jayaraj</dc:creator>
  <cp:lastModifiedBy>Siva Shakthi Gopal</cp:lastModifiedBy>
  <cp:revision>162</cp:revision>
  <dcterms:created xsi:type="dcterms:W3CDTF">2014-05-07T03:09:10Z</dcterms:created>
  <dcterms:modified xsi:type="dcterms:W3CDTF">2023-02-08T14:40:03Z</dcterms:modified>
</cp:coreProperties>
</file>